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6.xml" ContentType="application/vnd.openxmlformats-officedocument.theme+xml"/>
  <Override PartName="/ppt/slideLayouts/slideLayout18.xml" ContentType="application/vnd.openxmlformats-officedocument.presentationml.slideLayout+xml"/>
  <Override PartName="/ppt/theme/theme7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8.xml" ContentType="application/vnd.openxmlformats-officedocument.theme+xml"/>
  <Override PartName="/ppt/slideLayouts/slideLayout24.xml" ContentType="application/vnd.openxmlformats-officedocument.presentationml.slideLayout+xml"/>
  <Override PartName="/ppt/theme/theme9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0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11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12.xml" ContentType="application/vnd.openxmlformats-officedocument.theme+xml"/>
  <Override PartName="/ppt/slideLayouts/slideLayout40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15.jpg" ContentType="image/jpeg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media/image20.jpg" ContentType="image/jpeg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2" r:id="rId4"/>
    <p:sldMasterId id="2147483655" r:id="rId5"/>
    <p:sldMasterId id="2147483657" r:id="rId6"/>
    <p:sldMasterId id="2147483659" r:id="rId7"/>
    <p:sldMasterId id="2147483671" r:id="rId8"/>
    <p:sldMasterId id="2147483673" r:id="rId9"/>
    <p:sldMasterId id="2147483686" r:id="rId10"/>
    <p:sldMasterId id="2147483688" r:id="rId11"/>
    <p:sldMasterId id="2147483700" r:id="rId12"/>
    <p:sldMasterId id="2147483718" r:id="rId13"/>
    <p:sldMasterId id="2147483725" r:id="rId14"/>
    <p:sldMasterId id="2147483728" r:id="rId15"/>
    <p:sldMasterId id="2147483742" r:id="rId16"/>
  </p:sldMasterIdLst>
  <p:notesMasterIdLst>
    <p:notesMasterId r:id="rId27"/>
  </p:notesMasterIdLst>
  <p:sldIdLst>
    <p:sldId id="279" r:id="rId17"/>
    <p:sldId id="2239" r:id="rId18"/>
    <p:sldId id="4263" r:id="rId19"/>
    <p:sldId id="4289" r:id="rId20"/>
    <p:sldId id="2233" r:id="rId21"/>
    <p:sldId id="4288" r:id="rId22"/>
    <p:sldId id="4291" r:id="rId23"/>
    <p:sldId id="4290" r:id="rId24"/>
    <p:sldId id="4293" r:id="rId25"/>
    <p:sldId id="4212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FA5EB6F-4E11-4E50-AC1E-3CF80E127D41}">
          <p14:sldIdLst>
            <p14:sldId id="279"/>
            <p14:sldId id="2239"/>
            <p14:sldId id="4263"/>
            <p14:sldId id="4289"/>
            <p14:sldId id="2233"/>
            <p14:sldId id="4288"/>
            <p14:sldId id="4291"/>
            <p14:sldId id="4290"/>
            <p14:sldId id="4293"/>
            <p14:sldId id="42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271" userDrawn="1">
          <p15:clr>
            <a:srgbClr val="A4A3A4"/>
          </p15:clr>
        </p15:guide>
        <p15:guide id="2" pos="628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reshkumar" initials="NK" lastIdx="2" clrIdx="0">
    <p:extLst>
      <p:ext uri="{19B8F6BF-5375-455C-9EA6-DF929625EA0E}">
        <p15:presenceInfo xmlns:p15="http://schemas.microsoft.com/office/powerpoint/2012/main" userId="Nareshkumar" providerId="None"/>
      </p:ext>
    </p:extLst>
  </p:cmAuthor>
  <p:cmAuthor id="2" name="Geetika Gupta" initials="GG" lastIdx="11" clrIdx="1">
    <p:extLst>
      <p:ext uri="{19B8F6BF-5375-455C-9EA6-DF929625EA0E}">
        <p15:presenceInfo xmlns:p15="http://schemas.microsoft.com/office/powerpoint/2012/main" userId="S::Geetika.Gupta@mu-sigma.com::1dc8e70d-2378-4602-81f2-46fbbed11fd2" providerId="AD"/>
      </p:ext>
    </p:extLst>
  </p:cmAuthor>
  <p:cmAuthor id="3" name="Akshay Gandhi" initials="AG" lastIdx="2" clrIdx="2">
    <p:extLst>
      <p:ext uri="{19B8F6BF-5375-455C-9EA6-DF929625EA0E}">
        <p15:presenceInfo xmlns:p15="http://schemas.microsoft.com/office/powerpoint/2012/main" userId="S::Akshay.Gandhi@mu-sigma.com::afe37c68-cafc-41c0-ab4e-1125cc5f179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B800"/>
    <a:srgbClr val="F1B700"/>
    <a:srgbClr val="B9BE10"/>
    <a:srgbClr val="FDBE0F"/>
    <a:srgbClr val="B1BB26"/>
    <a:srgbClr val="FEA900"/>
    <a:srgbClr val="D8262E"/>
    <a:srgbClr val="5A3C00"/>
    <a:srgbClr val="A97100"/>
    <a:srgbClr val="4BB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7A04B8-E638-4DD4-B03E-59A1C18DE3C6}" v="136" dt="2020-04-01T16:16:49.909"/>
    <p1510:client id="{5050E86C-A13F-4D25-9744-8270B47BFB4C}" v="10" dt="2020-04-02T11:58:38.6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876" y="90"/>
      </p:cViewPr>
      <p:guideLst>
        <p:guide orient="horz" pos="3271"/>
        <p:guide pos="62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ros, Beatrix" userId="6c58ecbb-1dec-41fc-943c-f687219864f1" providerId="ADAL" clId="{5050E86C-A13F-4D25-9744-8270B47BFB4C}"/>
    <pc:docChg chg="undo custSel delSld modSld modSection">
      <pc:chgData name="Daros, Beatrix" userId="6c58ecbb-1dec-41fc-943c-f687219864f1" providerId="ADAL" clId="{5050E86C-A13F-4D25-9744-8270B47BFB4C}" dt="2020-04-02T13:32:14.793" v="857" actId="6549"/>
      <pc:docMkLst>
        <pc:docMk/>
      </pc:docMkLst>
      <pc:sldChg chg="modSp">
        <pc:chgData name="Daros, Beatrix" userId="6c58ecbb-1dec-41fc-943c-f687219864f1" providerId="ADAL" clId="{5050E86C-A13F-4D25-9744-8270B47BFB4C}" dt="2020-04-02T10:13:51.281" v="183" actId="20577"/>
        <pc:sldMkLst>
          <pc:docMk/>
          <pc:sldMk cId="763788748" sldId="279"/>
        </pc:sldMkLst>
        <pc:spChg chg="mod">
          <ac:chgData name="Daros, Beatrix" userId="6c58ecbb-1dec-41fc-943c-f687219864f1" providerId="ADAL" clId="{5050E86C-A13F-4D25-9744-8270B47BFB4C}" dt="2020-04-02T10:13:51.281" v="183" actId="20577"/>
          <ac:spMkLst>
            <pc:docMk/>
            <pc:sldMk cId="763788748" sldId="279"/>
            <ac:spMk id="3" creationId="{520D4E1B-1643-6A45-85D3-31A0014D72F5}"/>
          </ac:spMkLst>
        </pc:spChg>
      </pc:sldChg>
      <pc:sldChg chg="del">
        <pc:chgData name="Daros, Beatrix" userId="6c58ecbb-1dec-41fc-943c-f687219864f1" providerId="ADAL" clId="{5050E86C-A13F-4D25-9744-8270B47BFB4C}" dt="2020-04-01T16:20:54.061" v="0" actId="2696"/>
        <pc:sldMkLst>
          <pc:docMk/>
          <pc:sldMk cId="4197475315" sldId="2227"/>
        </pc:sldMkLst>
      </pc:sldChg>
      <pc:sldChg chg="modSp">
        <pc:chgData name="Daros, Beatrix" userId="6c58ecbb-1dec-41fc-943c-f687219864f1" providerId="ADAL" clId="{5050E86C-A13F-4D25-9744-8270B47BFB4C}" dt="2020-04-02T13:11:39.832" v="735" actId="688"/>
        <pc:sldMkLst>
          <pc:docMk/>
          <pc:sldMk cId="4048154399" sldId="2233"/>
        </pc:sldMkLst>
        <pc:spChg chg="mod">
          <ac:chgData name="Daros, Beatrix" userId="6c58ecbb-1dec-41fc-943c-f687219864f1" providerId="ADAL" clId="{5050E86C-A13F-4D25-9744-8270B47BFB4C}" dt="2020-04-02T13:11:39.832" v="735" actId="688"/>
          <ac:spMkLst>
            <pc:docMk/>
            <pc:sldMk cId="4048154399" sldId="2233"/>
            <ac:spMk id="10" creationId="{186816C1-0BC4-4FD2-9791-C7A4D4EC7737}"/>
          </ac:spMkLst>
        </pc:spChg>
        <pc:picChg chg="mod">
          <ac:chgData name="Daros, Beatrix" userId="6c58ecbb-1dec-41fc-943c-f687219864f1" providerId="ADAL" clId="{5050E86C-A13F-4D25-9744-8270B47BFB4C}" dt="2020-04-02T13:11:39.832" v="735" actId="688"/>
          <ac:picMkLst>
            <pc:docMk/>
            <pc:sldMk cId="4048154399" sldId="2233"/>
            <ac:picMk id="8" creationId="{EB4BFB87-C1C4-4163-BAB6-51B116BD8ECE}"/>
          </ac:picMkLst>
        </pc:picChg>
      </pc:sldChg>
      <pc:sldChg chg="addSp delSp modSp">
        <pc:chgData name="Daros, Beatrix" userId="6c58ecbb-1dec-41fc-943c-f687219864f1" providerId="ADAL" clId="{5050E86C-A13F-4D25-9744-8270B47BFB4C}" dt="2020-04-02T13:32:14.793" v="857" actId="6549"/>
        <pc:sldMkLst>
          <pc:docMk/>
          <pc:sldMk cId="1160255727" sldId="2239"/>
        </pc:sldMkLst>
        <pc:spChg chg="add mod">
          <ac:chgData name="Daros, Beatrix" userId="6c58ecbb-1dec-41fc-943c-f687219864f1" providerId="ADAL" clId="{5050E86C-A13F-4D25-9744-8270B47BFB4C}" dt="2020-04-02T13:32:14.793" v="857" actId="6549"/>
          <ac:spMkLst>
            <pc:docMk/>
            <pc:sldMk cId="1160255727" sldId="2239"/>
            <ac:spMk id="2" creationId="{667578FE-8778-40B1-A6AF-C6DB456CCDDD}"/>
          </ac:spMkLst>
        </pc:spChg>
        <pc:spChg chg="add mod">
          <ac:chgData name="Daros, Beatrix" userId="6c58ecbb-1dec-41fc-943c-f687219864f1" providerId="ADAL" clId="{5050E86C-A13F-4D25-9744-8270B47BFB4C}" dt="2020-04-02T10:13:28.229" v="174" actId="207"/>
          <ac:spMkLst>
            <pc:docMk/>
            <pc:sldMk cId="1160255727" sldId="2239"/>
            <ac:spMk id="6" creationId="{852BBB07-1A75-471A-8E66-D47C2891EDF7}"/>
          </ac:spMkLst>
        </pc:spChg>
        <pc:spChg chg="del mod">
          <ac:chgData name="Daros, Beatrix" userId="6c58ecbb-1dec-41fc-943c-f687219864f1" providerId="ADAL" clId="{5050E86C-A13F-4D25-9744-8270B47BFB4C}" dt="2020-04-02T10:12:44.662" v="162" actId="478"/>
          <ac:spMkLst>
            <pc:docMk/>
            <pc:sldMk cId="1160255727" sldId="2239"/>
            <ac:spMk id="11" creationId="{4D80B52C-C031-4DD6-B10A-338A94F52C48}"/>
          </ac:spMkLst>
        </pc:spChg>
      </pc:sldChg>
      <pc:sldChg chg="del">
        <pc:chgData name="Daros, Beatrix" userId="6c58ecbb-1dec-41fc-943c-f687219864f1" providerId="ADAL" clId="{5050E86C-A13F-4D25-9744-8270B47BFB4C}" dt="2020-04-01T16:20:56.575" v="6" actId="2696"/>
        <pc:sldMkLst>
          <pc:docMk/>
          <pc:sldMk cId="1610958729" sldId="2255"/>
        </pc:sldMkLst>
      </pc:sldChg>
      <pc:sldChg chg="del">
        <pc:chgData name="Daros, Beatrix" userId="6c58ecbb-1dec-41fc-943c-f687219864f1" providerId="ADAL" clId="{5050E86C-A13F-4D25-9744-8270B47BFB4C}" dt="2020-04-01T16:20:55.645" v="3" actId="2696"/>
        <pc:sldMkLst>
          <pc:docMk/>
          <pc:sldMk cId="1946730685" sldId="4273"/>
        </pc:sldMkLst>
      </pc:sldChg>
      <pc:sldChg chg="del">
        <pc:chgData name="Daros, Beatrix" userId="6c58ecbb-1dec-41fc-943c-f687219864f1" providerId="ADAL" clId="{5050E86C-A13F-4D25-9744-8270B47BFB4C}" dt="2020-04-01T16:20:54.802" v="1" actId="2696"/>
        <pc:sldMkLst>
          <pc:docMk/>
          <pc:sldMk cId="2678410184" sldId="4274"/>
        </pc:sldMkLst>
      </pc:sldChg>
      <pc:sldChg chg="del">
        <pc:chgData name="Daros, Beatrix" userId="6c58ecbb-1dec-41fc-943c-f687219864f1" providerId="ADAL" clId="{5050E86C-A13F-4D25-9744-8270B47BFB4C}" dt="2020-04-01T16:20:56.246" v="5" actId="2696"/>
        <pc:sldMkLst>
          <pc:docMk/>
          <pc:sldMk cId="3549404222" sldId="4276"/>
        </pc:sldMkLst>
      </pc:sldChg>
      <pc:sldChg chg="del">
        <pc:chgData name="Daros, Beatrix" userId="6c58ecbb-1dec-41fc-943c-f687219864f1" providerId="ADAL" clId="{5050E86C-A13F-4D25-9744-8270B47BFB4C}" dt="2020-04-01T16:20:55.178" v="2" actId="2696"/>
        <pc:sldMkLst>
          <pc:docMk/>
          <pc:sldMk cId="1694009171" sldId="4281"/>
        </pc:sldMkLst>
      </pc:sldChg>
      <pc:sldChg chg="del">
        <pc:chgData name="Daros, Beatrix" userId="6c58ecbb-1dec-41fc-943c-f687219864f1" providerId="ADAL" clId="{5050E86C-A13F-4D25-9744-8270B47BFB4C}" dt="2020-04-01T16:20:55.995" v="4" actId="2696"/>
        <pc:sldMkLst>
          <pc:docMk/>
          <pc:sldMk cId="3664198971" sldId="4282"/>
        </pc:sldMkLst>
      </pc:sldChg>
      <pc:sldChg chg="modSp">
        <pc:chgData name="Daros, Beatrix" userId="6c58ecbb-1dec-41fc-943c-f687219864f1" providerId="ADAL" clId="{5050E86C-A13F-4D25-9744-8270B47BFB4C}" dt="2020-04-02T11:57:39.434" v="436" actId="6549"/>
        <pc:sldMkLst>
          <pc:docMk/>
          <pc:sldMk cId="3127777440" sldId="4288"/>
        </pc:sldMkLst>
        <pc:spChg chg="mod">
          <ac:chgData name="Daros, Beatrix" userId="6c58ecbb-1dec-41fc-943c-f687219864f1" providerId="ADAL" clId="{5050E86C-A13F-4D25-9744-8270B47BFB4C}" dt="2020-04-02T11:57:39.434" v="436" actId="6549"/>
          <ac:spMkLst>
            <pc:docMk/>
            <pc:sldMk cId="3127777440" sldId="4288"/>
            <ac:spMk id="21" creationId="{C7C97C60-AE19-491C-A815-96D5CCFB3CDD}"/>
          </ac:spMkLst>
        </pc:spChg>
      </pc:sldChg>
      <pc:sldChg chg="modSp">
        <pc:chgData name="Daros, Beatrix" userId="6c58ecbb-1dec-41fc-943c-f687219864f1" providerId="ADAL" clId="{5050E86C-A13F-4D25-9744-8270B47BFB4C}" dt="2020-04-02T13:12:57.999" v="738" actId="20577"/>
        <pc:sldMkLst>
          <pc:docMk/>
          <pc:sldMk cId="573255691" sldId="4289"/>
        </pc:sldMkLst>
        <pc:spChg chg="mod">
          <ac:chgData name="Daros, Beatrix" userId="6c58ecbb-1dec-41fc-943c-f687219864f1" providerId="ADAL" clId="{5050E86C-A13F-4D25-9744-8270B47BFB4C}" dt="2020-04-02T13:12:57.999" v="738" actId="20577"/>
          <ac:spMkLst>
            <pc:docMk/>
            <pc:sldMk cId="573255691" sldId="4289"/>
            <ac:spMk id="5" creationId="{41C58C71-36D2-1743-A231-3AD6B45E952B}"/>
          </ac:spMkLst>
        </pc:spChg>
      </pc:sldChg>
      <pc:sldChg chg="modSp">
        <pc:chgData name="Daros, Beatrix" userId="6c58ecbb-1dec-41fc-943c-f687219864f1" providerId="ADAL" clId="{5050E86C-A13F-4D25-9744-8270B47BFB4C}" dt="2020-04-02T11:59:30.875" v="547" actId="1035"/>
        <pc:sldMkLst>
          <pc:docMk/>
          <pc:sldMk cId="1523921742" sldId="4290"/>
        </pc:sldMkLst>
        <pc:spChg chg="mod">
          <ac:chgData name="Daros, Beatrix" userId="6c58ecbb-1dec-41fc-943c-f687219864f1" providerId="ADAL" clId="{5050E86C-A13F-4D25-9744-8270B47BFB4C}" dt="2020-04-02T11:59:21.809" v="529" actId="1036"/>
          <ac:spMkLst>
            <pc:docMk/>
            <pc:sldMk cId="1523921742" sldId="4290"/>
            <ac:spMk id="2" creationId="{82D2F942-D1D1-49EC-A522-DD2D8A03FBB0}"/>
          </ac:spMkLst>
        </pc:spChg>
        <pc:spChg chg="mod">
          <ac:chgData name="Daros, Beatrix" userId="6c58ecbb-1dec-41fc-943c-f687219864f1" providerId="ADAL" clId="{5050E86C-A13F-4D25-9744-8270B47BFB4C}" dt="2020-04-02T11:59:25.668" v="542" actId="1036"/>
          <ac:spMkLst>
            <pc:docMk/>
            <pc:sldMk cId="1523921742" sldId="4290"/>
            <ac:spMk id="64" creationId="{65079EA7-CF98-4D60-BFA5-F40A0EE4797D}"/>
          </ac:spMkLst>
        </pc:spChg>
        <pc:spChg chg="mod">
          <ac:chgData name="Daros, Beatrix" userId="6c58ecbb-1dec-41fc-943c-f687219864f1" providerId="ADAL" clId="{5050E86C-A13F-4D25-9744-8270B47BFB4C}" dt="2020-04-02T11:59:30.875" v="547" actId="1035"/>
          <ac:spMkLst>
            <pc:docMk/>
            <pc:sldMk cId="1523921742" sldId="4290"/>
            <ac:spMk id="65" creationId="{188EAAE0-E948-43FD-98EE-2C5BC47C958A}"/>
          </ac:spMkLst>
        </pc:spChg>
      </pc:sldChg>
      <pc:sldChg chg="delSp modSp">
        <pc:chgData name="Daros, Beatrix" userId="6c58ecbb-1dec-41fc-943c-f687219864f1" providerId="ADAL" clId="{5050E86C-A13F-4D25-9744-8270B47BFB4C}" dt="2020-04-02T11:58:16.296" v="463" actId="1036"/>
        <pc:sldMkLst>
          <pc:docMk/>
          <pc:sldMk cId="4156887589" sldId="4291"/>
        </pc:sldMkLst>
        <pc:spChg chg="mod">
          <ac:chgData name="Daros, Beatrix" userId="6c58ecbb-1dec-41fc-943c-f687219864f1" providerId="ADAL" clId="{5050E86C-A13F-4D25-9744-8270B47BFB4C}" dt="2020-04-02T11:58:16.296" v="463" actId="1036"/>
          <ac:spMkLst>
            <pc:docMk/>
            <pc:sldMk cId="4156887589" sldId="4291"/>
            <ac:spMk id="54" creationId="{E5FAE259-AF51-4CD0-9ACB-51979072DBFE}"/>
          </ac:spMkLst>
        </pc:spChg>
        <pc:spChg chg="del">
          <ac:chgData name="Daros, Beatrix" userId="6c58ecbb-1dec-41fc-943c-f687219864f1" providerId="ADAL" clId="{5050E86C-A13F-4D25-9744-8270B47BFB4C}" dt="2020-04-02T11:58:10.944" v="441" actId="478"/>
          <ac:spMkLst>
            <pc:docMk/>
            <pc:sldMk cId="4156887589" sldId="4291"/>
            <ac:spMk id="64" creationId="{65079EA7-CF98-4D60-BFA5-F40A0EE4797D}"/>
          </ac:spMkLst>
        </pc:spChg>
      </pc:sldChg>
      <pc:sldChg chg="modSp">
        <pc:chgData name="Daros, Beatrix" userId="6c58ecbb-1dec-41fc-943c-f687219864f1" providerId="ADAL" clId="{5050E86C-A13F-4D25-9744-8270B47BFB4C}" dt="2020-04-02T10:11:45.310" v="157" actId="1036"/>
        <pc:sldMkLst>
          <pc:docMk/>
          <pc:sldMk cId="3097193952" sldId="4293"/>
        </pc:sldMkLst>
        <pc:spChg chg="mod">
          <ac:chgData name="Daros, Beatrix" userId="6c58ecbb-1dec-41fc-943c-f687219864f1" providerId="ADAL" clId="{5050E86C-A13F-4D25-9744-8270B47BFB4C}" dt="2020-04-02T10:11:45.310" v="157" actId="1036"/>
          <ac:spMkLst>
            <pc:docMk/>
            <pc:sldMk cId="3097193952" sldId="4293"/>
            <ac:spMk id="8" creationId="{3F79071D-F2DF-49FD-B4B9-BF9D56CF21A8}"/>
          </ac:spMkLst>
        </pc:spChg>
        <pc:spChg chg="mod">
          <ac:chgData name="Daros, Beatrix" userId="6c58ecbb-1dec-41fc-943c-f687219864f1" providerId="ADAL" clId="{5050E86C-A13F-4D25-9744-8270B47BFB4C}" dt="2020-04-02T06:27:11.853" v="12" actId="20577"/>
          <ac:spMkLst>
            <pc:docMk/>
            <pc:sldMk cId="3097193952" sldId="4293"/>
            <ac:spMk id="105" creationId="{D7011487-678B-49FF-8180-789897DC6F35}"/>
          </ac:spMkLst>
        </pc:spChg>
        <pc:spChg chg="mod">
          <ac:chgData name="Daros, Beatrix" userId="6c58ecbb-1dec-41fc-943c-f687219864f1" providerId="ADAL" clId="{5050E86C-A13F-4D25-9744-8270B47BFB4C}" dt="2020-04-02T06:27:16.981" v="16" actId="20577"/>
          <ac:spMkLst>
            <pc:docMk/>
            <pc:sldMk cId="3097193952" sldId="4293"/>
            <ac:spMk id="106" creationId="{82E2045C-2EC6-44BA-A1CB-29A62B38E0BA}"/>
          </ac:spMkLst>
        </pc:spChg>
      </pc:sldChg>
    </pc:docChg>
  </pc:docChgLst>
  <pc:docChgLst>
    <pc:chgData name="Daros, Beatrix" userId="6c58ecbb-1dec-41fc-943c-f687219864f1" providerId="ADAL" clId="{047A04B8-E638-4DD4-B03E-59A1C18DE3C6}"/>
    <pc:docChg chg="undo custSel addSld delSld modSld sldOrd modSection">
      <pc:chgData name="Daros, Beatrix" userId="6c58ecbb-1dec-41fc-943c-f687219864f1" providerId="ADAL" clId="{047A04B8-E638-4DD4-B03E-59A1C18DE3C6}" dt="2020-04-01T16:17:42.150" v="4653" actId="14100"/>
      <pc:docMkLst>
        <pc:docMk/>
      </pc:docMkLst>
      <pc:sldChg chg="delSp modSp">
        <pc:chgData name="Daros, Beatrix" userId="6c58ecbb-1dec-41fc-943c-f687219864f1" providerId="ADAL" clId="{047A04B8-E638-4DD4-B03E-59A1C18DE3C6}" dt="2020-04-01T16:17:15.567" v="4652" actId="20577"/>
        <pc:sldMkLst>
          <pc:docMk/>
          <pc:sldMk cId="763788748" sldId="279"/>
        </pc:sldMkLst>
        <pc:spChg chg="mod">
          <ac:chgData name="Daros, Beatrix" userId="6c58ecbb-1dec-41fc-943c-f687219864f1" providerId="ADAL" clId="{047A04B8-E638-4DD4-B03E-59A1C18DE3C6}" dt="2020-04-01T16:17:15.567" v="4652" actId="20577"/>
          <ac:spMkLst>
            <pc:docMk/>
            <pc:sldMk cId="763788748" sldId="279"/>
            <ac:spMk id="3" creationId="{520D4E1B-1643-6A45-85D3-31A0014D72F5}"/>
          </ac:spMkLst>
        </pc:spChg>
        <pc:spChg chg="del">
          <ac:chgData name="Daros, Beatrix" userId="6c58ecbb-1dec-41fc-943c-f687219864f1" providerId="ADAL" clId="{047A04B8-E638-4DD4-B03E-59A1C18DE3C6}" dt="2020-04-01T11:30:01.219" v="91" actId="478"/>
          <ac:spMkLst>
            <pc:docMk/>
            <pc:sldMk cId="763788748" sldId="279"/>
            <ac:spMk id="5" creationId="{43C07C10-72BE-434E-B7AD-C95CF4BB242F}"/>
          </ac:spMkLst>
        </pc:spChg>
        <pc:spChg chg="del">
          <ac:chgData name="Daros, Beatrix" userId="6c58ecbb-1dec-41fc-943c-f687219864f1" providerId="ADAL" clId="{047A04B8-E638-4DD4-B03E-59A1C18DE3C6}" dt="2020-04-01T11:30:01.219" v="91" actId="478"/>
          <ac:spMkLst>
            <pc:docMk/>
            <pc:sldMk cId="763788748" sldId="279"/>
            <ac:spMk id="9" creationId="{1653FE2C-DE74-460C-BE7A-FE60106C8AFC}"/>
          </ac:spMkLst>
        </pc:spChg>
        <pc:spChg chg="del">
          <ac:chgData name="Daros, Beatrix" userId="6c58ecbb-1dec-41fc-943c-f687219864f1" providerId="ADAL" clId="{047A04B8-E638-4DD4-B03E-59A1C18DE3C6}" dt="2020-04-01T11:30:01.219" v="91" actId="478"/>
          <ac:spMkLst>
            <pc:docMk/>
            <pc:sldMk cId="763788748" sldId="279"/>
            <ac:spMk id="11" creationId="{460784EC-00CE-4007-B5E7-71E70307B743}"/>
          </ac:spMkLst>
        </pc:spChg>
        <pc:picChg chg="del">
          <ac:chgData name="Daros, Beatrix" userId="6c58ecbb-1dec-41fc-943c-f687219864f1" providerId="ADAL" clId="{047A04B8-E638-4DD4-B03E-59A1C18DE3C6}" dt="2020-04-01T11:29:58.131" v="90" actId="478"/>
          <ac:picMkLst>
            <pc:docMk/>
            <pc:sldMk cId="763788748" sldId="279"/>
            <ac:picMk id="8" creationId="{1544714F-BD35-4276-AA8C-2CBAC53406EC}"/>
          </ac:picMkLst>
        </pc:picChg>
        <pc:picChg chg="del">
          <ac:chgData name="Daros, Beatrix" userId="6c58ecbb-1dec-41fc-943c-f687219864f1" providerId="ADAL" clId="{047A04B8-E638-4DD4-B03E-59A1C18DE3C6}" dt="2020-04-01T11:29:55.434" v="88" actId="478"/>
          <ac:picMkLst>
            <pc:docMk/>
            <pc:sldMk cId="763788748" sldId="279"/>
            <ac:picMk id="10" creationId="{5024EDC7-51F8-437C-A54B-8FF9695580F0}"/>
          </ac:picMkLst>
        </pc:picChg>
        <pc:picChg chg="del">
          <ac:chgData name="Daros, Beatrix" userId="6c58ecbb-1dec-41fc-943c-f687219864f1" providerId="ADAL" clId="{047A04B8-E638-4DD4-B03E-59A1C18DE3C6}" dt="2020-04-01T11:29:56.785" v="89" actId="478"/>
          <ac:picMkLst>
            <pc:docMk/>
            <pc:sldMk cId="763788748" sldId="279"/>
            <ac:picMk id="12" creationId="{FE743E39-AE95-48C9-A928-2A02C04C6D94}"/>
          </ac:picMkLst>
        </pc:picChg>
      </pc:sldChg>
      <pc:sldChg chg="modSp">
        <pc:chgData name="Daros, Beatrix" userId="6c58ecbb-1dec-41fc-943c-f687219864f1" providerId="ADAL" clId="{047A04B8-E638-4DD4-B03E-59A1C18DE3C6}" dt="2020-04-01T12:02:52.143" v="1253" actId="1076"/>
        <pc:sldMkLst>
          <pc:docMk/>
          <pc:sldMk cId="4197475315" sldId="2227"/>
        </pc:sldMkLst>
        <pc:spChg chg="mod">
          <ac:chgData name="Daros, Beatrix" userId="6c58ecbb-1dec-41fc-943c-f687219864f1" providerId="ADAL" clId="{047A04B8-E638-4DD4-B03E-59A1C18DE3C6}" dt="2020-04-01T12:02:52.143" v="1253" actId="1076"/>
          <ac:spMkLst>
            <pc:docMk/>
            <pc:sldMk cId="4197475315" sldId="2227"/>
            <ac:spMk id="2" creationId="{805A00AC-80B6-4252-B746-5E8831853914}"/>
          </ac:spMkLst>
        </pc:spChg>
      </pc:sldChg>
      <pc:sldChg chg="del">
        <pc:chgData name="Daros, Beatrix" userId="6c58ecbb-1dec-41fc-943c-f687219864f1" providerId="ADAL" clId="{047A04B8-E638-4DD4-B03E-59A1C18DE3C6}" dt="2020-04-01T11:42:03.254" v="429" actId="2696"/>
        <pc:sldMkLst>
          <pc:docMk/>
          <pc:sldMk cId="2597478718" sldId="2232"/>
        </pc:sldMkLst>
      </pc:sldChg>
      <pc:sldChg chg="addSp delSp modSp">
        <pc:chgData name="Daros, Beatrix" userId="6c58ecbb-1dec-41fc-943c-f687219864f1" providerId="ADAL" clId="{047A04B8-E638-4DD4-B03E-59A1C18DE3C6}" dt="2020-04-01T11:47:52.834" v="723" actId="1037"/>
        <pc:sldMkLst>
          <pc:docMk/>
          <pc:sldMk cId="4048154399" sldId="2233"/>
        </pc:sldMkLst>
        <pc:spChg chg="mod">
          <ac:chgData name="Daros, Beatrix" userId="6c58ecbb-1dec-41fc-943c-f687219864f1" providerId="ADAL" clId="{047A04B8-E638-4DD4-B03E-59A1C18DE3C6}" dt="2020-04-01T11:46:43.757" v="569" actId="403"/>
          <ac:spMkLst>
            <pc:docMk/>
            <pc:sldMk cId="4048154399" sldId="2233"/>
            <ac:spMk id="2" creationId="{26DEE359-E549-4367-9A66-629E08112CC1}"/>
          </ac:spMkLst>
        </pc:spChg>
        <pc:spChg chg="del mod">
          <ac:chgData name="Daros, Beatrix" userId="6c58ecbb-1dec-41fc-943c-f687219864f1" providerId="ADAL" clId="{047A04B8-E638-4DD4-B03E-59A1C18DE3C6}" dt="2020-04-01T11:47:20.664" v="600" actId="478"/>
          <ac:spMkLst>
            <pc:docMk/>
            <pc:sldMk cId="4048154399" sldId="2233"/>
            <ac:spMk id="3" creationId="{943C9684-D865-44AC-B5D0-84A4602A92C0}"/>
          </ac:spMkLst>
        </pc:spChg>
        <pc:spChg chg="add mod">
          <ac:chgData name="Daros, Beatrix" userId="6c58ecbb-1dec-41fc-943c-f687219864f1" providerId="ADAL" clId="{047A04B8-E638-4DD4-B03E-59A1C18DE3C6}" dt="2020-04-01T11:47:52.834" v="723" actId="1037"/>
          <ac:spMkLst>
            <pc:docMk/>
            <pc:sldMk cId="4048154399" sldId="2233"/>
            <ac:spMk id="9" creationId="{E0A1AE27-9FA0-4214-93A8-E635F954E8CC}"/>
          </ac:spMkLst>
        </pc:spChg>
        <pc:spChg chg="add mod">
          <ac:chgData name="Daros, Beatrix" userId="6c58ecbb-1dec-41fc-943c-f687219864f1" providerId="ADAL" clId="{047A04B8-E638-4DD4-B03E-59A1C18DE3C6}" dt="2020-04-01T11:47:52.834" v="723" actId="1037"/>
          <ac:spMkLst>
            <pc:docMk/>
            <pc:sldMk cId="4048154399" sldId="2233"/>
            <ac:spMk id="10" creationId="{186816C1-0BC4-4FD2-9791-C7A4D4EC7737}"/>
          </ac:spMkLst>
        </pc:spChg>
        <pc:spChg chg="add mod">
          <ac:chgData name="Daros, Beatrix" userId="6c58ecbb-1dec-41fc-943c-f687219864f1" providerId="ADAL" clId="{047A04B8-E638-4DD4-B03E-59A1C18DE3C6}" dt="2020-04-01T11:47:52.834" v="723" actId="1037"/>
          <ac:spMkLst>
            <pc:docMk/>
            <pc:sldMk cId="4048154399" sldId="2233"/>
            <ac:spMk id="11" creationId="{046287FE-67E4-4E3D-B666-30547FF97CAB}"/>
          </ac:spMkLst>
        </pc:spChg>
        <pc:picChg chg="del mod">
          <ac:chgData name="Daros, Beatrix" userId="6c58ecbb-1dec-41fc-943c-f687219864f1" providerId="ADAL" clId="{047A04B8-E638-4DD4-B03E-59A1C18DE3C6}" dt="2020-04-01T11:47:20.664" v="600" actId="478"/>
          <ac:picMkLst>
            <pc:docMk/>
            <pc:sldMk cId="4048154399" sldId="2233"/>
            <ac:picMk id="5" creationId="{5307D1B3-5901-4EA4-925C-E1681940652C}"/>
          </ac:picMkLst>
        </pc:picChg>
        <pc:picChg chg="add mod">
          <ac:chgData name="Daros, Beatrix" userId="6c58ecbb-1dec-41fc-943c-f687219864f1" providerId="ADAL" clId="{047A04B8-E638-4DD4-B03E-59A1C18DE3C6}" dt="2020-04-01T11:47:52.834" v="723" actId="1037"/>
          <ac:picMkLst>
            <pc:docMk/>
            <pc:sldMk cId="4048154399" sldId="2233"/>
            <ac:picMk id="6" creationId="{DE8064FE-A473-494F-9227-70DB74CDA02D}"/>
          </ac:picMkLst>
        </pc:picChg>
        <pc:picChg chg="add mod">
          <ac:chgData name="Daros, Beatrix" userId="6c58ecbb-1dec-41fc-943c-f687219864f1" providerId="ADAL" clId="{047A04B8-E638-4DD4-B03E-59A1C18DE3C6}" dt="2020-04-01T11:47:52.834" v="723" actId="1037"/>
          <ac:picMkLst>
            <pc:docMk/>
            <pc:sldMk cId="4048154399" sldId="2233"/>
            <ac:picMk id="7" creationId="{5003AA56-708D-4FE5-995B-644D880514D3}"/>
          </ac:picMkLst>
        </pc:picChg>
        <pc:picChg chg="add mod">
          <ac:chgData name="Daros, Beatrix" userId="6c58ecbb-1dec-41fc-943c-f687219864f1" providerId="ADAL" clId="{047A04B8-E638-4DD4-B03E-59A1C18DE3C6}" dt="2020-04-01T11:47:52.834" v="723" actId="1037"/>
          <ac:picMkLst>
            <pc:docMk/>
            <pc:sldMk cId="4048154399" sldId="2233"/>
            <ac:picMk id="8" creationId="{EB4BFB87-C1C4-4163-BAB6-51B116BD8ECE}"/>
          </ac:picMkLst>
        </pc:picChg>
      </pc:sldChg>
      <pc:sldChg chg="addSp delSp modSp">
        <pc:chgData name="Daros, Beatrix" userId="6c58ecbb-1dec-41fc-943c-f687219864f1" providerId="ADAL" clId="{047A04B8-E638-4DD4-B03E-59A1C18DE3C6}" dt="2020-04-01T11:39:49.425" v="393" actId="1035"/>
        <pc:sldMkLst>
          <pc:docMk/>
          <pc:sldMk cId="1160255727" sldId="2239"/>
        </pc:sldMkLst>
        <pc:spChg chg="del">
          <ac:chgData name="Daros, Beatrix" userId="6c58ecbb-1dec-41fc-943c-f687219864f1" providerId="ADAL" clId="{047A04B8-E638-4DD4-B03E-59A1C18DE3C6}" dt="2020-04-01T11:30:06.957" v="92" actId="478"/>
          <ac:spMkLst>
            <pc:docMk/>
            <pc:sldMk cId="1160255727" sldId="2239"/>
            <ac:spMk id="2" creationId="{C2183632-D886-4ABF-80AA-09AB02BF4901}"/>
          </ac:spMkLst>
        </pc:spChg>
        <pc:spChg chg="del mod">
          <ac:chgData name="Daros, Beatrix" userId="6c58ecbb-1dec-41fc-943c-f687219864f1" providerId="ADAL" clId="{047A04B8-E638-4DD4-B03E-59A1C18DE3C6}" dt="2020-04-01T11:34:00.734" v="211" actId="478"/>
          <ac:spMkLst>
            <pc:docMk/>
            <pc:sldMk cId="1160255727" sldId="2239"/>
            <ac:spMk id="3" creationId="{D7EE7F0D-4489-4375-8C1E-5E0657BB9914}"/>
          </ac:spMkLst>
        </pc:spChg>
        <pc:spChg chg="add del mod">
          <ac:chgData name="Daros, Beatrix" userId="6c58ecbb-1dec-41fc-943c-f687219864f1" providerId="ADAL" clId="{047A04B8-E638-4DD4-B03E-59A1C18DE3C6}" dt="2020-04-01T11:30:10.711" v="93" actId="478"/>
          <ac:spMkLst>
            <pc:docMk/>
            <pc:sldMk cId="1160255727" sldId="2239"/>
            <ac:spMk id="6" creationId="{54457FB3-AA93-4411-A24B-E73B5927E272}"/>
          </ac:spMkLst>
        </pc:spChg>
        <pc:spChg chg="add mod">
          <ac:chgData name="Daros, Beatrix" userId="6c58ecbb-1dec-41fc-943c-f687219864f1" providerId="ADAL" clId="{047A04B8-E638-4DD4-B03E-59A1C18DE3C6}" dt="2020-04-01T11:33:40.639" v="209" actId="1037"/>
          <ac:spMkLst>
            <pc:docMk/>
            <pc:sldMk cId="1160255727" sldId="2239"/>
            <ac:spMk id="7" creationId="{44C501B3-8612-4F89-AE50-BAA60B8A01B7}"/>
          </ac:spMkLst>
        </pc:spChg>
        <pc:spChg chg="add del mod">
          <ac:chgData name="Daros, Beatrix" userId="6c58ecbb-1dec-41fc-943c-f687219864f1" providerId="ADAL" clId="{047A04B8-E638-4DD4-B03E-59A1C18DE3C6}" dt="2020-04-01T11:34:02.645" v="212" actId="478"/>
          <ac:spMkLst>
            <pc:docMk/>
            <pc:sldMk cId="1160255727" sldId="2239"/>
            <ac:spMk id="9" creationId="{F0375044-5715-4F5D-9FF6-950DFB3F666D}"/>
          </ac:spMkLst>
        </pc:spChg>
        <pc:spChg chg="add del">
          <ac:chgData name="Daros, Beatrix" userId="6c58ecbb-1dec-41fc-943c-f687219864f1" providerId="ADAL" clId="{047A04B8-E638-4DD4-B03E-59A1C18DE3C6}" dt="2020-04-01T11:34:07.410" v="216"/>
          <ac:spMkLst>
            <pc:docMk/>
            <pc:sldMk cId="1160255727" sldId="2239"/>
            <ac:spMk id="10" creationId="{50804E21-15DB-40AE-AFA6-C464CE597CF6}"/>
          </ac:spMkLst>
        </pc:spChg>
        <pc:spChg chg="add mod">
          <ac:chgData name="Daros, Beatrix" userId="6c58ecbb-1dec-41fc-943c-f687219864f1" providerId="ADAL" clId="{047A04B8-E638-4DD4-B03E-59A1C18DE3C6}" dt="2020-04-01T11:39:49.425" v="393" actId="1035"/>
          <ac:spMkLst>
            <pc:docMk/>
            <pc:sldMk cId="1160255727" sldId="2239"/>
            <ac:spMk id="11" creationId="{4D80B52C-C031-4DD6-B10A-338A94F52C48}"/>
          </ac:spMkLst>
        </pc:spChg>
        <pc:spChg chg="add del">
          <ac:chgData name="Daros, Beatrix" userId="6c58ecbb-1dec-41fc-943c-f687219864f1" providerId="ADAL" clId="{047A04B8-E638-4DD4-B03E-59A1C18DE3C6}" dt="2020-04-01T11:34:26.705" v="226"/>
          <ac:spMkLst>
            <pc:docMk/>
            <pc:sldMk cId="1160255727" sldId="2239"/>
            <ac:spMk id="12" creationId="{E3AE63ED-2451-4B86-B5BC-2B70C08CAEBB}"/>
          </ac:spMkLst>
        </pc:spChg>
        <pc:spChg chg="add del">
          <ac:chgData name="Daros, Beatrix" userId="6c58ecbb-1dec-41fc-943c-f687219864f1" providerId="ADAL" clId="{047A04B8-E638-4DD4-B03E-59A1C18DE3C6}" dt="2020-04-01T11:34:26.235" v="225"/>
          <ac:spMkLst>
            <pc:docMk/>
            <pc:sldMk cId="1160255727" sldId="2239"/>
            <ac:spMk id="13" creationId="{6C01E5D7-EE14-4AD4-AC2F-3DBB73AAD817}"/>
          </ac:spMkLst>
        </pc:spChg>
        <pc:spChg chg="add del">
          <ac:chgData name="Daros, Beatrix" userId="6c58ecbb-1dec-41fc-943c-f687219864f1" providerId="ADAL" clId="{047A04B8-E638-4DD4-B03E-59A1C18DE3C6}" dt="2020-04-01T11:34:25.915" v="224"/>
          <ac:spMkLst>
            <pc:docMk/>
            <pc:sldMk cId="1160255727" sldId="2239"/>
            <ac:spMk id="14" creationId="{74857D0C-5636-4F02-B891-6704870A0703}"/>
          </ac:spMkLst>
        </pc:spChg>
        <pc:spChg chg="add del mod">
          <ac:chgData name="Daros, Beatrix" userId="6c58ecbb-1dec-41fc-943c-f687219864f1" providerId="ADAL" clId="{047A04B8-E638-4DD4-B03E-59A1C18DE3C6}" dt="2020-04-01T11:35:25.536" v="248" actId="478"/>
          <ac:spMkLst>
            <pc:docMk/>
            <pc:sldMk cId="1160255727" sldId="2239"/>
            <ac:spMk id="15" creationId="{5943EB71-21B9-4CDB-A21D-DD361FDE7AA1}"/>
          </ac:spMkLst>
        </pc:spChg>
        <pc:spChg chg="add mod">
          <ac:chgData name="Daros, Beatrix" userId="6c58ecbb-1dec-41fc-943c-f687219864f1" providerId="ADAL" clId="{047A04B8-E638-4DD4-B03E-59A1C18DE3C6}" dt="2020-04-01T11:35:47.213" v="255" actId="1076"/>
          <ac:spMkLst>
            <pc:docMk/>
            <pc:sldMk cId="1160255727" sldId="2239"/>
            <ac:spMk id="16" creationId="{87CF2583-72AD-497D-A444-DBFD6968BC57}"/>
          </ac:spMkLst>
        </pc:spChg>
      </pc:sldChg>
      <pc:sldChg chg="modSp del">
        <pc:chgData name="Daros, Beatrix" userId="6c58ecbb-1dec-41fc-943c-f687219864f1" providerId="ADAL" clId="{047A04B8-E638-4DD4-B03E-59A1C18DE3C6}" dt="2020-04-01T11:33:02.185" v="139" actId="2696"/>
        <pc:sldMkLst>
          <pc:docMk/>
          <pc:sldMk cId="973671118" sldId="2241"/>
        </pc:sldMkLst>
        <pc:spChg chg="mod">
          <ac:chgData name="Daros, Beatrix" userId="6c58ecbb-1dec-41fc-943c-f687219864f1" providerId="ADAL" clId="{047A04B8-E638-4DD4-B03E-59A1C18DE3C6}" dt="2020-04-01T11:30:22.528" v="94" actId="1076"/>
          <ac:spMkLst>
            <pc:docMk/>
            <pc:sldMk cId="973671118" sldId="2241"/>
            <ac:spMk id="2" creationId="{B3FD3762-CB4A-4F7A-ABD6-85133B0BCB6C}"/>
          </ac:spMkLst>
        </pc:spChg>
      </pc:sldChg>
      <pc:sldChg chg="addSp delSp modSp ord">
        <pc:chgData name="Daros, Beatrix" userId="6c58ecbb-1dec-41fc-943c-f687219864f1" providerId="ADAL" clId="{047A04B8-E638-4DD4-B03E-59A1C18DE3C6}" dt="2020-04-01T12:31:11.060" v="2819"/>
        <pc:sldMkLst>
          <pc:docMk/>
          <pc:sldMk cId="1610958729" sldId="2255"/>
        </pc:sldMkLst>
        <pc:spChg chg="add del mod">
          <ac:chgData name="Daros, Beatrix" userId="6c58ecbb-1dec-41fc-943c-f687219864f1" providerId="ADAL" clId="{047A04B8-E638-4DD4-B03E-59A1C18DE3C6}" dt="2020-04-01T11:42:53.793" v="474" actId="1076"/>
          <ac:spMkLst>
            <pc:docMk/>
            <pc:sldMk cId="1610958729" sldId="2255"/>
            <ac:spMk id="6" creationId="{AFEC0921-8490-43C8-9BB9-E006DDB83D75}"/>
          </ac:spMkLst>
        </pc:spChg>
        <pc:spChg chg="del">
          <ac:chgData name="Daros, Beatrix" userId="6c58ecbb-1dec-41fc-943c-f687219864f1" providerId="ADAL" clId="{047A04B8-E638-4DD4-B03E-59A1C18DE3C6}" dt="2020-04-01T11:42:35.906" v="469" actId="478"/>
          <ac:spMkLst>
            <pc:docMk/>
            <pc:sldMk cId="1610958729" sldId="2255"/>
            <ac:spMk id="9" creationId="{E9984F03-BFE4-48AC-96D0-5760F16056A7}"/>
          </ac:spMkLst>
        </pc:spChg>
        <pc:spChg chg="add mod">
          <ac:chgData name="Daros, Beatrix" userId="6c58ecbb-1dec-41fc-943c-f687219864f1" providerId="ADAL" clId="{047A04B8-E638-4DD4-B03E-59A1C18DE3C6}" dt="2020-04-01T11:42:28.618" v="467" actId="14100"/>
          <ac:spMkLst>
            <pc:docMk/>
            <pc:sldMk cId="1610958729" sldId="2255"/>
            <ac:spMk id="10" creationId="{0EC4BC53-237F-4ED1-A3DF-3BF6977E2A65}"/>
          </ac:spMkLst>
        </pc:spChg>
        <pc:picChg chg="mod">
          <ac:chgData name="Daros, Beatrix" userId="6c58ecbb-1dec-41fc-943c-f687219864f1" providerId="ADAL" clId="{047A04B8-E638-4DD4-B03E-59A1C18DE3C6}" dt="2020-04-01T11:42:33.881" v="468" actId="1076"/>
          <ac:picMkLst>
            <pc:docMk/>
            <pc:sldMk cId="1610958729" sldId="2255"/>
            <ac:picMk id="7" creationId="{341D338D-9C32-417B-99DA-436ED45694E9}"/>
          </ac:picMkLst>
        </pc:picChg>
        <pc:cxnChg chg="del">
          <ac:chgData name="Daros, Beatrix" userId="6c58ecbb-1dec-41fc-943c-f687219864f1" providerId="ADAL" clId="{047A04B8-E638-4DD4-B03E-59A1C18DE3C6}" dt="2020-04-01T11:42:37.735" v="470" actId="478"/>
          <ac:cxnSpMkLst>
            <pc:docMk/>
            <pc:sldMk cId="1610958729" sldId="2255"/>
            <ac:cxnSpMk id="8" creationId="{20155ADF-F290-4934-9B97-AF63578BCD93}"/>
          </ac:cxnSpMkLst>
        </pc:cxnChg>
      </pc:sldChg>
      <pc:sldChg chg="del">
        <pc:chgData name="Daros, Beatrix" userId="6c58ecbb-1dec-41fc-943c-f687219864f1" providerId="ADAL" clId="{047A04B8-E638-4DD4-B03E-59A1C18DE3C6}" dt="2020-04-01T11:28:18.551" v="17" actId="2696"/>
        <pc:sldMkLst>
          <pc:docMk/>
          <pc:sldMk cId="2878830598" sldId="4192"/>
        </pc:sldMkLst>
      </pc:sldChg>
      <pc:sldChg chg="del">
        <pc:chgData name="Daros, Beatrix" userId="6c58ecbb-1dec-41fc-943c-f687219864f1" providerId="ADAL" clId="{047A04B8-E638-4DD4-B03E-59A1C18DE3C6}" dt="2020-04-01T11:28:18.401" v="13" actId="2696"/>
        <pc:sldMkLst>
          <pc:docMk/>
          <pc:sldMk cId="1240847504" sldId="4195"/>
        </pc:sldMkLst>
      </pc:sldChg>
      <pc:sldChg chg="del">
        <pc:chgData name="Daros, Beatrix" userId="6c58ecbb-1dec-41fc-943c-f687219864f1" providerId="ADAL" clId="{047A04B8-E638-4DD4-B03E-59A1C18DE3C6}" dt="2020-04-01T11:28:18.617" v="18" actId="2696"/>
        <pc:sldMkLst>
          <pc:docMk/>
          <pc:sldMk cId="2239211093" sldId="4199"/>
        </pc:sldMkLst>
      </pc:sldChg>
      <pc:sldChg chg="del">
        <pc:chgData name="Daros, Beatrix" userId="6c58ecbb-1dec-41fc-943c-f687219864f1" providerId="ADAL" clId="{047A04B8-E638-4DD4-B03E-59A1C18DE3C6}" dt="2020-04-01T11:28:17.967" v="5" actId="2696"/>
        <pc:sldMkLst>
          <pc:docMk/>
          <pc:sldMk cId="1398727237" sldId="4200"/>
        </pc:sldMkLst>
      </pc:sldChg>
      <pc:sldChg chg="del">
        <pc:chgData name="Daros, Beatrix" userId="6c58ecbb-1dec-41fc-943c-f687219864f1" providerId="ADAL" clId="{047A04B8-E638-4DD4-B03E-59A1C18DE3C6}" dt="2020-04-01T11:28:18.018" v="6" actId="2696"/>
        <pc:sldMkLst>
          <pc:docMk/>
          <pc:sldMk cId="3166360606" sldId="4201"/>
        </pc:sldMkLst>
      </pc:sldChg>
      <pc:sldChg chg="del">
        <pc:chgData name="Daros, Beatrix" userId="6c58ecbb-1dec-41fc-943c-f687219864f1" providerId="ADAL" clId="{047A04B8-E638-4DD4-B03E-59A1C18DE3C6}" dt="2020-04-01T11:28:18.071" v="7" actId="2696"/>
        <pc:sldMkLst>
          <pc:docMk/>
          <pc:sldMk cId="3196450973" sldId="4202"/>
        </pc:sldMkLst>
      </pc:sldChg>
      <pc:sldChg chg="del">
        <pc:chgData name="Daros, Beatrix" userId="6c58ecbb-1dec-41fc-943c-f687219864f1" providerId="ADAL" clId="{047A04B8-E638-4DD4-B03E-59A1C18DE3C6}" dt="2020-04-01T11:28:17.905" v="4" actId="2696"/>
        <pc:sldMkLst>
          <pc:docMk/>
          <pc:sldMk cId="803820872" sldId="4203"/>
        </pc:sldMkLst>
      </pc:sldChg>
      <pc:sldChg chg="del">
        <pc:chgData name="Daros, Beatrix" userId="6c58ecbb-1dec-41fc-943c-f687219864f1" providerId="ADAL" clId="{047A04B8-E638-4DD4-B03E-59A1C18DE3C6}" dt="2020-04-01T11:28:18.320" v="11" actId="2696"/>
        <pc:sldMkLst>
          <pc:docMk/>
          <pc:sldMk cId="2569342640" sldId="4204"/>
        </pc:sldMkLst>
      </pc:sldChg>
      <pc:sldChg chg="del">
        <pc:chgData name="Daros, Beatrix" userId="6c58ecbb-1dec-41fc-943c-f687219864f1" providerId="ADAL" clId="{047A04B8-E638-4DD4-B03E-59A1C18DE3C6}" dt="2020-04-01T11:28:18.133" v="8" actId="2696"/>
        <pc:sldMkLst>
          <pc:docMk/>
          <pc:sldMk cId="3828885846" sldId="4205"/>
        </pc:sldMkLst>
      </pc:sldChg>
      <pc:sldChg chg="del">
        <pc:chgData name="Daros, Beatrix" userId="6c58ecbb-1dec-41fc-943c-f687219864f1" providerId="ADAL" clId="{047A04B8-E638-4DD4-B03E-59A1C18DE3C6}" dt="2020-04-01T11:28:18.185" v="9" actId="2696"/>
        <pc:sldMkLst>
          <pc:docMk/>
          <pc:sldMk cId="3421253814" sldId="4206"/>
        </pc:sldMkLst>
      </pc:sldChg>
      <pc:sldChg chg="del">
        <pc:chgData name="Daros, Beatrix" userId="6c58ecbb-1dec-41fc-943c-f687219864f1" providerId="ADAL" clId="{047A04B8-E638-4DD4-B03E-59A1C18DE3C6}" dt="2020-04-01T11:28:18.251" v="10" actId="2696"/>
        <pc:sldMkLst>
          <pc:docMk/>
          <pc:sldMk cId="1347631968" sldId="4207"/>
        </pc:sldMkLst>
      </pc:sldChg>
      <pc:sldChg chg="del">
        <pc:chgData name="Daros, Beatrix" userId="6c58ecbb-1dec-41fc-943c-f687219864f1" providerId="ADAL" clId="{047A04B8-E638-4DD4-B03E-59A1C18DE3C6}" dt="2020-04-01T11:28:18.367" v="12" actId="2696"/>
        <pc:sldMkLst>
          <pc:docMk/>
          <pc:sldMk cId="892742042" sldId="4208"/>
        </pc:sldMkLst>
      </pc:sldChg>
      <pc:sldChg chg="addSp delSp modSp modAnim">
        <pc:chgData name="Daros, Beatrix" userId="6c58ecbb-1dec-41fc-943c-f687219864f1" providerId="ADAL" clId="{047A04B8-E638-4DD4-B03E-59A1C18DE3C6}" dt="2020-04-01T16:16:52.544" v="4649" actId="113"/>
        <pc:sldMkLst>
          <pc:docMk/>
          <pc:sldMk cId="1393315267" sldId="4212"/>
        </pc:sldMkLst>
        <pc:spChg chg="add del mod">
          <ac:chgData name="Daros, Beatrix" userId="6c58ecbb-1dec-41fc-943c-f687219864f1" providerId="ADAL" clId="{047A04B8-E638-4DD4-B03E-59A1C18DE3C6}" dt="2020-04-01T12:31:32.069" v="2831" actId="478"/>
          <ac:spMkLst>
            <pc:docMk/>
            <pc:sldMk cId="1393315267" sldId="4212"/>
            <ac:spMk id="3" creationId="{B0A58448-70B5-422F-ACE7-BEEF54BAA554}"/>
          </ac:spMkLst>
        </pc:spChg>
        <pc:spChg chg="mod">
          <ac:chgData name="Daros, Beatrix" userId="6c58ecbb-1dec-41fc-943c-f687219864f1" providerId="ADAL" clId="{047A04B8-E638-4DD4-B03E-59A1C18DE3C6}" dt="2020-04-01T12:31:20.123" v="2829" actId="20577"/>
          <ac:spMkLst>
            <pc:docMk/>
            <pc:sldMk cId="1393315267" sldId="4212"/>
            <ac:spMk id="4" creationId="{B46B37FA-EE1A-4BB7-B4AB-1CDD6CB1C8D0}"/>
          </ac:spMkLst>
        </pc:spChg>
        <pc:spChg chg="del">
          <ac:chgData name="Daros, Beatrix" userId="6c58ecbb-1dec-41fc-943c-f687219864f1" providerId="ADAL" clId="{047A04B8-E638-4DD4-B03E-59A1C18DE3C6}" dt="2020-04-01T12:31:28.783" v="2830" actId="478"/>
          <ac:spMkLst>
            <pc:docMk/>
            <pc:sldMk cId="1393315267" sldId="4212"/>
            <ac:spMk id="5" creationId="{E03A92AF-5D41-4C4C-9A41-19C92F296186}"/>
          </ac:spMkLst>
        </pc:spChg>
        <pc:spChg chg="del">
          <ac:chgData name="Daros, Beatrix" userId="6c58ecbb-1dec-41fc-943c-f687219864f1" providerId="ADAL" clId="{047A04B8-E638-4DD4-B03E-59A1C18DE3C6}" dt="2020-04-01T12:31:28.783" v="2830" actId="478"/>
          <ac:spMkLst>
            <pc:docMk/>
            <pc:sldMk cId="1393315267" sldId="4212"/>
            <ac:spMk id="6" creationId="{B2B1C1FD-6CFA-47DD-A077-9C8E3C28C08F}"/>
          </ac:spMkLst>
        </pc:spChg>
        <pc:spChg chg="del">
          <ac:chgData name="Daros, Beatrix" userId="6c58ecbb-1dec-41fc-943c-f687219864f1" providerId="ADAL" clId="{047A04B8-E638-4DD4-B03E-59A1C18DE3C6}" dt="2020-04-01T12:31:28.783" v="2830" actId="478"/>
          <ac:spMkLst>
            <pc:docMk/>
            <pc:sldMk cId="1393315267" sldId="4212"/>
            <ac:spMk id="8" creationId="{18D6267C-C56A-4A63-8335-29B722C2CEC5}"/>
          </ac:spMkLst>
        </pc:spChg>
        <pc:spChg chg="del">
          <ac:chgData name="Daros, Beatrix" userId="6c58ecbb-1dec-41fc-943c-f687219864f1" providerId="ADAL" clId="{047A04B8-E638-4DD4-B03E-59A1C18DE3C6}" dt="2020-04-01T12:31:28.783" v="2830" actId="478"/>
          <ac:spMkLst>
            <pc:docMk/>
            <pc:sldMk cId="1393315267" sldId="4212"/>
            <ac:spMk id="9" creationId="{0D900C03-2F95-4F1C-AAC1-A9CAE7BC3AEB}"/>
          </ac:spMkLst>
        </pc:spChg>
        <pc:spChg chg="add del mod">
          <ac:chgData name="Daros, Beatrix" userId="6c58ecbb-1dec-41fc-943c-f687219864f1" providerId="ADAL" clId="{047A04B8-E638-4DD4-B03E-59A1C18DE3C6}" dt="2020-04-01T12:31:33.909" v="2832" actId="478"/>
          <ac:spMkLst>
            <pc:docMk/>
            <pc:sldMk cId="1393315267" sldId="4212"/>
            <ac:spMk id="10" creationId="{AF8170A7-C879-40CF-8453-B47A492FE8A0}"/>
          </ac:spMkLst>
        </pc:spChg>
        <pc:spChg chg="del">
          <ac:chgData name="Daros, Beatrix" userId="6c58ecbb-1dec-41fc-943c-f687219864f1" providerId="ADAL" clId="{047A04B8-E638-4DD4-B03E-59A1C18DE3C6}" dt="2020-04-01T12:31:28.783" v="2830" actId="478"/>
          <ac:spMkLst>
            <pc:docMk/>
            <pc:sldMk cId="1393315267" sldId="4212"/>
            <ac:spMk id="11" creationId="{388C2CEF-5DF0-48DE-8A43-080B28C810AE}"/>
          </ac:spMkLst>
        </pc:spChg>
        <pc:spChg chg="add del mod">
          <ac:chgData name="Daros, Beatrix" userId="6c58ecbb-1dec-41fc-943c-f687219864f1" providerId="ADAL" clId="{047A04B8-E638-4DD4-B03E-59A1C18DE3C6}" dt="2020-04-01T12:31:37.113" v="2833" actId="478"/>
          <ac:spMkLst>
            <pc:docMk/>
            <pc:sldMk cId="1393315267" sldId="4212"/>
            <ac:spMk id="13" creationId="{767BCA80-99C7-44B8-BA21-A9AADAFC3B11}"/>
          </ac:spMkLst>
        </pc:spChg>
        <pc:spChg chg="del">
          <ac:chgData name="Daros, Beatrix" userId="6c58ecbb-1dec-41fc-943c-f687219864f1" providerId="ADAL" clId="{047A04B8-E638-4DD4-B03E-59A1C18DE3C6}" dt="2020-04-01T12:31:28.783" v="2830" actId="478"/>
          <ac:spMkLst>
            <pc:docMk/>
            <pc:sldMk cId="1393315267" sldId="4212"/>
            <ac:spMk id="14" creationId="{B8F56333-CADA-4C48-B7AE-B1916A4ADDF6}"/>
          </ac:spMkLst>
        </pc:spChg>
        <pc:spChg chg="del">
          <ac:chgData name="Daros, Beatrix" userId="6c58ecbb-1dec-41fc-943c-f687219864f1" providerId="ADAL" clId="{047A04B8-E638-4DD4-B03E-59A1C18DE3C6}" dt="2020-04-01T12:31:28.783" v="2830" actId="478"/>
          <ac:spMkLst>
            <pc:docMk/>
            <pc:sldMk cId="1393315267" sldId="4212"/>
            <ac:spMk id="15" creationId="{839403AC-BFAF-418A-936A-1AFDE97721D5}"/>
          </ac:spMkLst>
        </pc:spChg>
        <pc:spChg chg="del">
          <ac:chgData name="Daros, Beatrix" userId="6c58ecbb-1dec-41fc-943c-f687219864f1" providerId="ADAL" clId="{047A04B8-E638-4DD4-B03E-59A1C18DE3C6}" dt="2020-04-01T12:31:28.783" v="2830" actId="478"/>
          <ac:spMkLst>
            <pc:docMk/>
            <pc:sldMk cId="1393315267" sldId="4212"/>
            <ac:spMk id="16" creationId="{033A3977-6AB3-4B81-866B-F959386C725D}"/>
          </ac:spMkLst>
        </pc:spChg>
        <pc:spChg chg="add mod">
          <ac:chgData name="Daros, Beatrix" userId="6c58ecbb-1dec-41fc-943c-f687219864f1" providerId="ADAL" clId="{047A04B8-E638-4DD4-B03E-59A1C18DE3C6}" dt="2020-04-01T16:16:52.544" v="4649" actId="113"/>
          <ac:spMkLst>
            <pc:docMk/>
            <pc:sldMk cId="1393315267" sldId="4212"/>
            <ac:spMk id="17" creationId="{55321E23-D9B2-4FF4-97E6-89BED4D9ED11}"/>
          </ac:spMkLst>
        </pc:spChg>
        <pc:spChg chg="del">
          <ac:chgData name="Daros, Beatrix" userId="6c58ecbb-1dec-41fc-943c-f687219864f1" providerId="ADAL" clId="{047A04B8-E638-4DD4-B03E-59A1C18DE3C6}" dt="2020-04-01T12:31:28.783" v="2830" actId="478"/>
          <ac:spMkLst>
            <pc:docMk/>
            <pc:sldMk cId="1393315267" sldId="4212"/>
            <ac:spMk id="18" creationId="{6C694FF2-1D91-4127-8D13-CD2CD9DEBEC7}"/>
          </ac:spMkLst>
        </pc:spChg>
        <pc:spChg chg="add del">
          <ac:chgData name="Daros, Beatrix" userId="6c58ecbb-1dec-41fc-943c-f687219864f1" providerId="ADAL" clId="{047A04B8-E638-4DD4-B03E-59A1C18DE3C6}" dt="2020-04-01T14:15:57.061" v="3681"/>
          <ac:spMkLst>
            <pc:docMk/>
            <pc:sldMk cId="1393315267" sldId="4212"/>
            <ac:spMk id="19" creationId="{221A3CC7-EDAC-426B-BBE4-887D9351422F}"/>
          </ac:spMkLst>
        </pc:spChg>
        <pc:spChg chg="add del">
          <ac:chgData name="Daros, Beatrix" userId="6c58ecbb-1dec-41fc-943c-f687219864f1" providerId="ADAL" clId="{047A04B8-E638-4DD4-B03E-59A1C18DE3C6}" dt="2020-04-01T14:15:57.061" v="3681"/>
          <ac:spMkLst>
            <pc:docMk/>
            <pc:sldMk cId="1393315267" sldId="4212"/>
            <ac:spMk id="20" creationId="{A0BAF5E3-EA8C-479B-B686-F61FBDEAFAD5}"/>
          </ac:spMkLst>
        </pc:spChg>
        <pc:spChg chg="add mod">
          <ac:chgData name="Daros, Beatrix" userId="6c58ecbb-1dec-41fc-943c-f687219864f1" providerId="ADAL" clId="{047A04B8-E638-4DD4-B03E-59A1C18DE3C6}" dt="2020-04-01T14:18:09.368" v="3706" actId="164"/>
          <ac:spMkLst>
            <pc:docMk/>
            <pc:sldMk cId="1393315267" sldId="4212"/>
            <ac:spMk id="22" creationId="{9B60275D-31BD-4389-9B81-73BC2345CC3B}"/>
          </ac:spMkLst>
        </pc:spChg>
        <pc:spChg chg="add mod">
          <ac:chgData name="Daros, Beatrix" userId="6c58ecbb-1dec-41fc-943c-f687219864f1" providerId="ADAL" clId="{047A04B8-E638-4DD4-B03E-59A1C18DE3C6}" dt="2020-04-01T14:18:09.368" v="3706" actId="164"/>
          <ac:spMkLst>
            <pc:docMk/>
            <pc:sldMk cId="1393315267" sldId="4212"/>
            <ac:spMk id="23" creationId="{1D907B33-D42F-48B9-925E-82B140B96358}"/>
          </ac:spMkLst>
        </pc:spChg>
        <pc:spChg chg="add mod">
          <ac:chgData name="Daros, Beatrix" userId="6c58ecbb-1dec-41fc-943c-f687219864f1" providerId="ADAL" clId="{047A04B8-E638-4DD4-B03E-59A1C18DE3C6}" dt="2020-04-01T16:12:14.513" v="4356" actId="1037"/>
          <ac:spMkLst>
            <pc:docMk/>
            <pc:sldMk cId="1393315267" sldId="4212"/>
            <ac:spMk id="27" creationId="{50C0C2B1-D13F-4CD8-A37F-29FDD8785C47}"/>
          </ac:spMkLst>
        </pc:spChg>
        <pc:grpChg chg="add mod">
          <ac:chgData name="Daros, Beatrix" userId="6c58ecbb-1dec-41fc-943c-f687219864f1" providerId="ADAL" clId="{047A04B8-E638-4DD4-B03E-59A1C18DE3C6}" dt="2020-04-01T16:11:57.561" v="4333" actId="1035"/>
          <ac:grpSpMkLst>
            <pc:docMk/>
            <pc:sldMk cId="1393315267" sldId="4212"/>
            <ac:grpSpMk id="26" creationId="{58B29280-F8F6-4992-9233-E95B7F2AE0E5}"/>
          </ac:grpSpMkLst>
        </pc:grpChg>
        <pc:graphicFrameChg chg="add del">
          <ac:chgData name="Daros, Beatrix" userId="6c58ecbb-1dec-41fc-943c-f687219864f1" providerId="ADAL" clId="{047A04B8-E638-4DD4-B03E-59A1C18DE3C6}" dt="2020-04-01T14:15:57.061" v="3681"/>
          <ac:graphicFrameMkLst>
            <pc:docMk/>
            <pc:sldMk cId="1393315267" sldId="4212"/>
            <ac:graphicFrameMk id="21" creationId="{BDE70302-6E9E-46CF-877E-B8AD1241BBE6}"/>
          </ac:graphicFrameMkLst>
        </pc:graphicFrameChg>
        <pc:graphicFrameChg chg="add del mod">
          <ac:chgData name="Daros, Beatrix" userId="6c58ecbb-1dec-41fc-943c-f687219864f1" providerId="ADAL" clId="{047A04B8-E638-4DD4-B03E-59A1C18DE3C6}" dt="2020-04-01T14:17:07.532" v="3697" actId="478"/>
          <ac:graphicFrameMkLst>
            <pc:docMk/>
            <pc:sldMk cId="1393315267" sldId="4212"/>
            <ac:graphicFrameMk id="24" creationId="{04BA6FC1-AEF5-47A5-80C9-05D3F3024F9C}"/>
          </ac:graphicFrameMkLst>
        </pc:graphicFrameChg>
        <pc:picChg chg="add mod">
          <ac:chgData name="Daros, Beatrix" userId="6c58ecbb-1dec-41fc-943c-f687219864f1" providerId="ADAL" clId="{047A04B8-E638-4DD4-B03E-59A1C18DE3C6}" dt="2020-04-01T14:18:09.368" v="3706" actId="164"/>
          <ac:picMkLst>
            <pc:docMk/>
            <pc:sldMk cId="1393315267" sldId="4212"/>
            <ac:picMk id="25" creationId="{9C9B9083-42AB-4803-9BF6-A4620AE3A89B}"/>
          </ac:picMkLst>
        </pc:picChg>
      </pc:sldChg>
      <pc:sldChg chg="del">
        <pc:chgData name="Daros, Beatrix" userId="6c58ecbb-1dec-41fc-943c-f687219864f1" providerId="ADAL" clId="{047A04B8-E638-4DD4-B03E-59A1C18DE3C6}" dt="2020-04-01T11:28:20.501" v="30" actId="2696"/>
        <pc:sldMkLst>
          <pc:docMk/>
          <pc:sldMk cId="4144403966" sldId="4217"/>
        </pc:sldMkLst>
      </pc:sldChg>
      <pc:sldChg chg="del">
        <pc:chgData name="Daros, Beatrix" userId="6c58ecbb-1dec-41fc-943c-f687219864f1" providerId="ADAL" clId="{047A04B8-E638-4DD4-B03E-59A1C18DE3C6}" dt="2020-04-01T11:28:17.581" v="0" actId="2696"/>
        <pc:sldMkLst>
          <pc:docMk/>
          <pc:sldMk cId="3170815855" sldId="4222"/>
        </pc:sldMkLst>
      </pc:sldChg>
      <pc:sldChg chg="del">
        <pc:chgData name="Daros, Beatrix" userId="6c58ecbb-1dec-41fc-943c-f687219864f1" providerId="ADAL" clId="{047A04B8-E638-4DD4-B03E-59A1C18DE3C6}" dt="2020-04-01T11:28:18.687" v="19" actId="2696"/>
        <pc:sldMkLst>
          <pc:docMk/>
          <pc:sldMk cId="826206788" sldId="4224"/>
        </pc:sldMkLst>
      </pc:sldChg>
      <pc:sldChg chg="del">
        <pc:chgData name="Daros, Beatrix" userId="6c58ecbb-1dec-41fc-943c-f687219864f1" providerId="ADAL" clId="{047A04B8-E638-4DD4-B03E-59A1C18DE3C6}" dt="2020-04-01T11:28:18.769" v="20" actId="2696"/>
        <pc:sldMkLst>
          <pc:docMk/>
          <pc:sldMk cId="191821534" sldId="4225"/>
        </pc:sldMkLst>
      </pc:sldChg>
      <pc:sldChg chg="del">
        <pc:chgData name="Daros, Beatrix" userId="6c58ecbb-1dec-41fc-943c-f687219864f1" providerId="ADAL" clId="{047A04B8-E638-4DD4-B03E-59A1C18DE3C6}" dt="2020-04-01T11:28:18.485" v="15" actId="2696"/>
        <pc:sldMkLst>
          <pc:docMk/>
          <pc:sldMk cId="1033462315" sldId="4232"/>
        </pc:sldMkLst>
      </pc:sldChg>
      <pc:sldChg chg="del">
        <pc:chgData name="Daros, Beatrix" userId="6c58ecbb-1dec-41fc-943c-f687219864f1" providerId="ADAL" clId="{047A04B8-E638-4DD4-B03E-59A1C18DE3C6}" dt="2020-04-01T11:28:18.804" v="21" actId="2696"/>
        <pc:sldMkLst>
          <pc:docMk/>
          <pc:sldMk cId="321753872" sldId="4235"/>
        </pc:sldMkLst>
      </pc:sldChg>
      <pc:sldChg chg="del">
        <pc:chgData name="Daros, Beatrix" userId="6c58ecbb-1dec-41fc-943c-f687219864f1" providerId="ADAL" clId="{047A04B8-E638-4DD4-B03E-59A1C18DE3C6}" dt="2020-04-01T11:28:17.669" v="2" actId="2696"/>
        <pc:sldMkLst>
          <pc:docMk/>
          <pc:sldMk cId="3267723210" sldId="4238"/>
        </pc:sldMkLst>
      </pc:sldChg>
      <pc:sldChg chg="del">
        <pc:chgData name="Daros, Beatrix" userId="6c58ecbb-1dec-41fc-943c-f687219864f1" providerId="ADAL" clId="{047A04B8-E638-4DD4-B03E-59A1C18DE3C6}" dt="2020-04-01T11:28:18.856" v="22" actId="2696"/>
        <pc:sldMkLst>
          <pc:docMk/>
          <pc:sldMk cId="4198626761" sldId="4239"/>
        </pc:sldMkLst>
      </pc:sldChg>
      <pc:sldChg chg="del">
        <pc:chgData name="Daros, Beatrix" userId="6c58ecbb-1dec-41fc-943c-f687219864f1" providerId="ADAL" clId="{047A04B8-E638-4DD4-B03E-59A1C18DE3C6}" dt="2020-04-01T11:28:18.910" v="23" actId="2696"/>
        <pc:sldMkLst>
          <pc:docMk/>
          <pc:sldMk cId="3685955042" sldId="4240"/>
        </pc:sldMkLst>
      </pc:sldChg>
      <pc:sldChg chg="del">
        <pc:chgData name="Daros, Beatrix" userId="6c58ecbb-1dec-41fc-943c-f687219864f1" providerId="ADAL" clId="{047A04B8-E638-4DD4-B03E-59A1C18DE3C6}" dt="2020-04-01T11:28:18.968" v="24" actId="2696"/>
        <pc:sldMkLst>
          <pc:docMk/>
          <pc:sldMk cId="67426732" sldId="4241"/>
        </pc:sldMkLst>
      </pc:sldChg>
      <pc:sldChg chg="del">
        <pc:chgData name="Daros, Beatrix" userId="6c58ecbb-1dec-41fc-943c-f687219864f1" providerId="ADAL" clId="{047A04B8-E638-4DD4-B03E-59A1C18DE3C6}" dt="2020-04-01T11:28:19.018" v="25" actId="2696"/>
        <pc:sldMkLst>
          <pc:docMk/>
          <pc:sldMk cId="1988249018" sldId="4242"/>
        </pc:sldMkLst>
      </pc:sldChg>
      <pc:sldChg chg="del">
        <pc:chgData name="Daros, Beatrix" userId="6c58ecbb-1dec-41fc-943c-f687219864f1" providerId="ADAL" clId="{047A04B8-E638-4DD4-B03E-59A1C18DE3C6}" dt="2020-04-01T11:28:19.071" v="26" actId="2696"/>
        <pc:sldMkLst>
          <pc:docMk/>
          <pc:sldMk cId="947028012" sldId="4243"/>
        </pc:sldMkLst>
      </pc:sldChg>
      <pc:sldChg chg="del">
        <pc:chgData name="Daros, Beatrix" userId="6c58ecbb-1dec-41fc-943c-f687219864f1" providerId="ADAL" clId="{047A04B8-E638-4DD4-B03E-59A1C18DE3C6}" dt="2020-04-01T11:28:19.123" v="27" actId="2696"/>
        <pc:sldMkLst>
          <pc:docMk/>
          <pc:sldMk cId="1483277378" sldId="4244"/>
        </pc:sldMkLst>
      </pc:sldChg>
      <pc:sldChg chg="del">
        <pc:chgData name="Daros, Beatrix" userId="6c58ecbb-1dec-41fc-943c-f687219864f1" providerId="ADAL" clId="{047A04B8-E638-4DD4-B03E-59A1C18DE3C6}" dt="2020-04-01T11:28:19.179" v="28" actId="2696"/>
        <pc:sldMkLst>
          <pc:docMk/>
          <pc:sldMk cId="3539922418" sldId="4245"/>
        </pc:sldMkLst>
      </pc:sldChg>
      <pc:sldChg chg="del">
        <pc:chgData name="Daros, Beatrix" userId="6c58ecbb-1dec-41fc-943c-f687219864f1" providerId="ADAL" clId="{047A04B8-E638-4DD4-B03E-59A1C18DE3C6}" dt="2020-04-01T11:28:19.220" v="29" actId="2696"/>
        <pc:sldMkLst>
          <pc:docMk/>
          <pc:sldMk cId="3237992825" sldId="4246"/>
        </pc:sldMkLst>
      </pc:sldChg>
      <pc:sldChg chg="del">
        <pc:chgData name="Daros, Beatrix" userId="6c58ecbb-1dec-41fc-943c-f687219864f1" providerId="ADAL" clId="{047A04B8-E638-4DD4-B03E-59A1C18DE3C6}" dt="2020-04-01T11:28:17.736" v="3" actId="2696"/>
        <pc:sldMkLst>
          <pc:docMk/>
          <pc:sldMk cId="2294982922" sldId="4247"/>
        </pc:sldMkLst>
      </pc:sldChg>
      <pc:sldChg chg="del">
        <pc:chgData name="Daros, Beatrix" userId="6c58ecbb-1dec-41fc-943c-f687219864f1" providerId="ADAL" clId="{047A04B8-E638-4DD4-B03E-59A1C18DE3C6}" dt="2020-04-01T11:28:17.613" v="1" actId="2696"/>
        <pc:sldMkLst>
          <pc:docMk/>
          <pc:sldMk cId="3998869589" sldId="4252"/>
        </pc:sldMkLst>
      </pc:sldChg>
      <pc:sldChg chg="del">
        <pc:chgData name="Daros, Beatrix" userId="6c58ecbb-1dec-41fc-943c-f687219864f1" providerId="ADAL" clId="{047A04B8-E638-4DD4-B03E-59A1C18DE3C6}" dt="2020-04-01T11:28:18.439" v="14" actId="2696"/>
        <pc:sldMkLst>
          <pc:docMk/>
          <pc:sldMk cId="2989426783" sldId="4253"/>
        </pc:sldMkLst>
      </pc:sldChg>
      <pc:sldChg chg="addSp delSp modSp">
        <pc:chgData name="Daros, Beatrix" userId="6c58ecbb-1dec-41fc-943c-f687219864f1" providerId="ADAL" clId="{047A04B8-E638-4DD4-B03E-59A1C18DE3C6}" dt="2020-04-01T14:20:24.636" v="3960" actId="20577"/>
        <pc:sldMkLst>
          <pc:docMk/>
          <pc:sldMk cId="245740680" sldId="4263"/>
        </pc:sldMkLst>
        <pc:spChg chg="mod">
          <ac:chgData name="Daros, Beatrix" userId="6c58ecbb-1dec-41fc-943c-f687219864f1" providerId="ADAL" clId="{047A04B8-E638-4DD4-B03E-59A1C18DE3C6}" dt="2020-04-01T11:38:58.376" v="348" actId="207"/>
          <ac:spMkLst>
            <pc:docMk/>
            <pc:sldMk cId="245740680" sldId="4263"/>
            <ac:spMk id="7" creationId="{9A0EF8DC-3F0A-4E42-8B7A-C487560D0AF6}"/>
          </ac:spMkLst>
        </pc:spChg>
        <pc:spChg chg="del">
          <ac:chgData name="Daros, Beatrix" userId="6c58ecbb-1dec-41fc-943c-f687219864f1" providerId="ADAL" clId="{047A04B8-E638-4DD4-B03E-59A1C18DE3C6}" dt="2020-04-01T11:37:26.089" v="290" actId="478"/>
          <ac:spMkLst>
            <pc:docMk/>
            <pc:sldMk cId="245740680" sldId="4263"/>
            <ac:spMk id="8" creationId="{C2234321-8C8C-400C-9F6D-A2080D31D86B}"/>
          </ac:spMkLst>
        </pc:spChg>
        <pc:spChg chg="add mod">
          <ac:chgData name="Daros, Beatrix" userId="6c58ecbb-1dec-41fc-943c-f687219864f1" providerId="ADAL" clId="{047A04B8-E638-4DD4-B03E-59A1C18DE3C6}" dt="2020-04-01T11:36:57.449" v="287" actId="208"/>
          <ac:spMkLst>
            <pc:docMk/>
            <pc:sldMk cId="245740680" sldId="4263"/>
            <ac:spMk id="9" creationId="{60AA4E32-8D96-4D72-AC50-0B4165C24C95}"/>
          </ac:spMkLst>
        </pc:spChg>
        <pc:spChg chg="mod">
          <ac:chgData name="Daros, Beatrix" userId="6c58ecbb-1dec-41fc-943c-f687219864f1" providerId="ADAL" clId="{047A04B8-E638-4DD4-B03E-59A1C18DE3C6}" dt="2020-04-01T11:46:15.144" v="546" actId="1037"/>
          <ac:spMkLst>
            <pc:docMk/>
            <pc:sldMk cId="245740680" sldId="4263"/>
            <ac:spMk id="29" creationId="{7BFDF9BC-5B51-46B0-A54B-44E644DA0AD7}"/>
          </ac:spMkLst>
        </pc:spChg>
        <pc:spChg chg="del">
          <ac:chgData name="Daros, Beatrix" userId="6c58ecbb-1dec-41fc-943c-f687219864f1" providerId="ADAL" clId="{047A04B8-E638-4DD4-B03E-59A1C18DE3C6}" dt="2020-04-01T11:37:36.282" v="292" actId="478"/>
          <ac:spMkLst>
            <pc:docMk/>
            <pc:sldMk cId="245740680" sldId="4263"/>
            <ac:spMk id="32" creationId="{68379028-D777-4449-AE7C-1B10AC858A70}"/>
          </ac:spMkLst>
        </pc:spChg>
        <pc:spChg chg="mod">
          <ac:chgData name="Daros, Beatrix" userId="6c58ecbb-1dec-41fc-943c-f687219864f1" providerId="ADAL" clId="{047A04B8-E638-4DD4-B03E-59A1C18DE3C6}" dt="2020-04-01T11:39:10.645" v="370" actId="207"/>
          <ac:spMkLst>
            <pc:docMk/>
            <pc:sldMk cId="245740680" sldId="4263"/>
            <ac:spMk id="33" creationId="{0AC3D03B-3498-4D0C-9CC6-0D4F0EBD5988}"/>
          </ac:spMkLst>
        </pc:spChg>
        <pc:spChg chg="del">
          <ac:chgData name="Daros, Beatrix" userId="6c58ecbb-1dec-41fc-943c-f687219864f1" providerId="ADAL" clId="{047A04B8-E638-4DD4-B03E-59A1C18DE3C6}" dt="2020-04-01T11:37:29.559" v="291" actId="478"/>
          <ac:spMkLst>
            <pc:docMk/>
            <pc:sldMk cId="245740680" sldId="4263"/>
            <ac:spMk id="34" creationId="{4EDAEB56-1CEF-445A-965D-AC8C2EE29EBE}"/>
          </ac:spMkLst>
        </pc:spChg>
        <pc:spChg chg="mod">
          <ac:chgData name="Daros, Beatrix" userId="6c58ecbb-1dec-41fc-943c-f687219864f1" providerId="ADAL" clId="{047A04B8-E638-4DD4-B03E-59A1C18DE3C6}" dt="2020-04-01T11:38:42.542" v="345" actId="20577"/>
          <ac:spMkLst>
            <pc:docMk/>
            <pc:sldMk cId="245740680" sldId="4263"/>
            <ac:spMk id="42" creationId="{FBEAE360-D1F0-4901-B8BF-91639F3F5D7F}"/>
          </ac:spMkLst>
        </pc:spChg>
        <pc:spChg chg="mod">
          <ac:chgData name="Daros, Beatrix" userId="6c58ecbb-1dec-41fc-943c-f687219864f1" providerId="ADAL" clId="{047A04B8-E638-4DD4-B03E-59A1C18DE3C6}" dt="2020-04-01T14:20:24.636" v="3960" actId="20577"/>
          <ac:spMkLst>
            <pc:docMk/>
            <pc:sldMk cId="245740680" sldId="4263"/>
            <ac:spMk id="48" creationId="{5F6B57F4-3DA3-4A97-85B8-C2F652FD0BAE}"/>
          </ac:spMkLst>
        </pc:spChg>
        <pc:spChg chg="mod">
          <ac:chgData name="Daros, Beatrix" userId="6c58ecbb-1dec-41fc-943c-f687219864f1" providerId="ADAL" clId="{047A04B8-E638-4DD4-B03E-59A1C18DE3C6}" dt="2020-04-01T11:36:09.900" v="281" actId="1035"/>
          <ac:spMkLst>
            <pc:docMk/>
            <pc:sldMk cId="245740680" sldId="4263"/>
            <ac:spMk id="56" creationId="{EE0FCC7F-E592-485C-986B-957B97905475}"/>
          </ac:spMkLst>
        </pc:spChg>
        <pc:spChg chg="add del">
          <ac:chgData name="Daros, Beatrix" userId="6c58ecbb-1dec-41fc-943c-f687219864f1" providerId="ADAL" clId="{047A04B8-E638-4DD4-B03E-59A1C18DE3C6}" dt="2020-04-01T11:37:00.854" v="289" actId="478"/>
          <ac:spMkLst>
            <pc:docMk/>
            <pc:sldMk cId="245740680" sldId="4263"/>
            <ac:spMk id="57" creationId="{524EA406-C58F-4D07-B353-B0BB53F82FC0}"/>
          </ac:spMkLst>
        </pc:spChg>
        <pc:spChg chg="add mod">
          <ac:chgData name="Daros, Beatrix" userId="6c58ecbb-1dec-41fc-943c-f687219864f1" providerId="ADAL" clId="{047A04B8-E638-4DD4-B03E-59A1C18DE3C6}" dt="2020-04-01T11:38:10.445" v="302" actId="207"/>
          <ac:spMkLst>
            <pc:docMk/>
            <pc:sldMk cId="245740680" sldId="4263"/>
            <ac:spMk id="58" creationId="{B9D9FA68-E381-46EA-B2FF-651582830CE6}"/>
          </ac:spMkLst>
        </pc:spChg>
        <pc:picChg chg="mod">
          <ac:chgData name="Daros, Beatrix" userId="6c58ecbb-1dec-41fc-943c-f687219864f1" providerId="ADAL" clId="{047A04B8-E638-4DD4-B03E-59A1C18DE3C6}" dt="2020-04-01T11:38:32.519" v="321" actId="1076"/>
          <ac:picMkLst>
            <pc:docMk/>
            <pc:sldMk cId="245740680" sldId="4263"/>
            <ac:picMk id="2050" creationId="{826EF62B-F2E1-4C86-8FDD-100BB8F34F10}"/>
          </ac:picMkLst>
        </pc:picChg>
      </pc:sldChg>
      <pc:sldChg chg="del">
        <pc:chgData name="Daros, Beatrix" userId="6c58ecbb-1dec-41fc-943c-f687219864f1" providerId="ADAL" clId="{047A04B8-E638-4DD4-B03E-59A1C18DE3C6}" dt="2020-04-01T11:39:24.080" v="372" actId="2696"/>
        <pc:sldMkLst>
          <pc:docMk/>
          <pc:sldMk cId="2266986573" sldId="4267"/>
        </pc:sldMkLst>
      </pc:sldChg>
      <pc:sldChg chg="del">
        <pc:chgData name="Daros, Beatrix" userId="6c58ecbb-1dec-41fc-943c-f687219864f1" providerId="ADAL" clId="{047A04B8-E638-4DD4-B03E-59A1C18DE3C6}" dt="2020-04-01T11:39:19.435" v="371" actId="2696"/>
        <pc:sldMkLst>
          <pc:docMk/>
          <pc:sldMk cId="1109820945" sldId="4271"/>
        </pc:sldMkLst>
      </pc:sldChg>
      <pc:sldChg chg="modSp ord modTransition">
        <pc:chgData name="Daros, Beatrix" userId="6c58ecbb-1dec-41fc-943c-f687219864f1" providerId="ADAL" clId="{047A04B8-E638-4DD4-B03E-59A1C18DE3C6}" dt="2020-04-01T12:03:57.983" v="1263"/>
        <pc:sldMkLst>
          <pc:docMk/>
          <pc:sldMk cId="1946730685" sldId="4273"/>
        </pc:sldMkLst>
        <pc:spChg chg="mod">
          <ac:chgData name="Daros, Beatrix" userId="6c58ecbb-1dec-41fc-943c-f687219864f1" providerId="ADAL" clId="{047A04B8-E638-4DD4-B03E-59A1C18DE3C6}" dt="2020-04-01T12:02:14.477" v="1217" actId="20577"/>
          <ac:spMkLst>
            <pc:docMk/>
            <pc:sldMk cId="1946730685" sldId="4273"/>
            <ac:spMk id="6" creationId="{CC58B4ED-25FE-4FD2-9F7D-6CFD24EC311D}"/>
          </ac:spMkLst>
        </pc:spChg>
      </pc:sldChg>
      <pc:sldChg chg="ord">
        <pc:chgData name="Daros, Beatrix" userId="6c58ecbb-1dec-41fc-943c-f687219864f1" providerId="ADAL" clId="{047A04B8-E638-4DD4-B03E-59A1C18DE3C6}" dt="2020-04-01T11:45:41.559" v="513"/>
        <pc:sldMkLst>
          <pc:docMk/>
          <pc:sldMk cId="2678410184" sldId="4274"/>
        </pc:sldMkLst>
      </pc:sldChg>
      <pc:sldChg chg="del">
        <pc:chgData name="Daros, Beatrix" userId="6c58ecbb-1dec-41fc-943c-f687219864f1" providerId="ADAL" clId="{047A04B8-E638-4DD4-B03E-59A1C18DE3C6}" dt="2020-04-01T12:03:20.369" v="1254" actId="2696"/>
        <pc:sldMkLst>
          <pc:docMk/>
          <pc:sldMk cId="1971384237" sldId="4275"/>
        </pc:sldMkLst>
      </pc:sldChg>
      <pc:sldChg chg="modSp ord modTransition">
        <pc:chgData name="Daros, Beatrix" userId="6c58ecbb-1dec-41fc-943c-f687219864f1" providerId="ADAL" clId="{047A04B8-E638-4DD4-B03E-59A1C18DE3C6}" dt="2020-04-01T12:03:55.444" v="1262"/>
        <pc:sldMkLst>
          <pc:docMk/>
          <pc:sldMk cId="3549404222" sldId="4276"/>
        </pc:sldMkLst>
        <pc:spChg chg="mod">
          <ac:chgData name="Daros, Beatrix" userId="6c58ecbb-1dec-41fc-943c-f687219864f1" providerId="ADAL" clId="{047A04B8-E638-4DD4-B03E-59A1C18DE3C6}" dt="2020-04-01T12:02:20.432" v="1226" actId="20577"/>
          <ac:spMkLst>
            <pc:docMk/>
            <pc:sldMk cId="3549404222" sldId="4276"/>
            <ac:spMk id="6" creationId="{CC58B4ED-25FE-4FD2-9F7D-6CFD24EC311D}"/>
          </ac:spMkLst>
        </pc:spChg>
      </pc:sldChg>
      <pc:sldChg chg="ord modTransition">
        <pc:chgData name="Daros, Beatrix" userId="6c58ecbb-1dec-41fc-943c-f687219864f1" providerId="ADAL" clId="{047A04B8-E638-4DD4-B03E-59A1C18DE3C6}" dt="2020-04-01T12:04:00.565" v="1264"/>
        <pc:sldMkLst>
          <pc:docMk/>
          <pc:sldMk cId="1694009171" sldId="4281"/>
        </pc:sldMkLst>
      </pc:sldChg>
      <pc:sldChg chg="modSp ord modTransition">
        <pc:chgData name="Daros, Beatrix" userId="6c58ecbb-1dec-41fc-943c-f687219864f1" providerId="ADAL" clId="{047A04B8-E638-4DD4-B03E-59A1C18DE3C6}" dt="2020-04-01T12:03:49.183" v="1261"/>
        <pc:sldMkLst>
          <pc:docMk/>
          <pc:sldMk cId="3664198971" sldId="4282"/>
        </pc:sldMkLst>
        <pc:spChg chg="mod">
          <ac:chgData name="Daros, Beatrix" userId="6c58ecbb-1dec-41fc-943c-f687219864f1" providerId="ADAL" clId="{047A04B8-E638-4DD4-B03E-59A1C18DE3C6}" dt="2020-04-01T12:02:27.036" v="1234" actId="20577"/>
          <ac:spMkLst>
            <pc:docMk/>
            <pc:sldMk cId="3664198971" sldId="4282"/>
            <ac:spMk id="6" creationId="{CC58B4ED-25FE-4FD2-9F7D-6CFD24EC311D}"/>
          </ac:spMkLst>
        </pc:spChg>
      </pc:sldChg>
      <pc:sldChg chg="del">
        <pc:chgData name="Daros, Beatrix" userId="6c58ecbb-1dec-41fc-943c-f687219864f1" providerId="ADAL" clId="{047A04B8-E638-4DD4-B03E-59A1C18DE3C6}" dt="2020-04-01T11:58:24.524" v="1018" actId="2696"/>
        <pc:sldMkLst>
          <pc:docMk/>
          <pc:sldMk cId="1555875945" sldId="4283"/>
        </pc:sldMkLst>
      </pc:sldChg>
      <pc:sldChg chg="del modTransition">
        <pc:chgData name="Daros, Beatrix" userId="6c58ecbb-1dec-41fc-943c-f687219864f1" providerId="ADAL" clId="{047A04B8-E638-4DD4-B03E-59A1C18DE3C6}" dt="2020-04-01T11:48:40.933" v="860" actId="2696"/>
        <pc:sldMkLst>
          <pc:docMk/>
          <pc:sldMk cId="3914202984" sldId="4284"/>
        </pc:sldMkLst>
      </pc:sldChg>
      <pc:sldChg chg="del">
        <pc:chgData name="Daros, Beatrix" userId="6c58ecbb-1dec-41fc-943c-f687219864f1" providerId="ADAL" clId="{047A04B8-E638-4DD4-B03E-59A1C18DE3C6}" dt="2020-04-01T11:42:00.710" v="428" actId="2696"/>
        <pc:sldMkLst>
          <pc:docMk/>
          <pc:sldMk cId="3337430488" sldId="4285"/>
        </pc:sldMkLst>
      </pc:sldChg>
      <pc:sldChg chg="addSp delSp modSp">
        <pc:chgData name="Daros, Beatrix" userId="6c58ecbb-1dec-41fc-943c-f687219864f1" providerId="ADAL" clId="{047A04B8-E638-4DD4-B03E-59A1C18DE3C6}" dt="2020-04-01T11:48:27.253" v="858" actId="14100"/>
        <pc:sldMkLst>
          <pc:docMk/>
          <pc:sldMk cId="3127777440" sldId="4288"/>
        </pc:sldMkLst>
        <pc:spChg chg="mod">
          <ac:chgData name="Daros, Beatrix" userId="6c58ecbb-1dec-41fc-943c-f687219864f1" providerId="ADAL" clId="{047A04B8-E638-4DD4-B03E-59A1C18DE3C6}" dt="2020-04-01T11:45:03.677" v="512" actId="14100"/>
          <ac:spMkLst>
            <pc:docMk/>
            <pc:sldMk cId="3127777440" sldId="4288"/>
            <ac:spMk id="7" creationId="{DAB79589-4F04-4BA3-97B2-B29ECC22F3A7}"/>
          </ac:spMkLst>
        </pc:spChg>
        <pc:spChg chg="del">
          <ac:chgData name="Daros, Beatrix" userId="6c58ecbb-1dec-41fc-943c-f687219864f1" providerId="ADAL" clId="{047A04B8-E638-4DD4-B03E-59A1C18DE3C6}" dt="2020-04-01T11:43:55.496" v="476" actId="478"/>
          <ac:spMkLst>
            <pc:docMk/>
            <pc:sldMk cId="3127777440" sldId="4288"/>
            <ac:spMk id="15" creationId="{00000000-0000-0000-0000-000000000000}"/>
          </ac:spMkLst>
        </pc:spChg>
        <pc:spChg chg="mod">
          <ac:chgData name="Daros, Beatrix" userId="6c58ecbb-1dec-41fc-943c-f687219864f1" providerId="ADAL" clId="{047A04B8-E638-4DD4-B03E-59A1C18DE3C6}" dt="2020-04-01T11:44:49.788" v="510" actId="1076"/>
          <ac:spMkLst>
            <pc:docMk/>
            <pc:sldMk cId="3127777440" sldId="4288"/>
            <ac:spMk id="26" creationId="{2723D662-E96A-4FBB-938A-21F74F853C99}"/>
          </ac:spMkLst>
        </pc:spChg>
        <pc:spChg chg="mod">
          <ac:chgData name="Daros, Beatrix" userId="6c58ecbb-1dec-41fc-943c-f687219864f1" providerId="ADAL" clId="{047A04B8-E638-4DD4-B03E-59A1C18DE3C6}" dt="2020-04-01T11:48:27.253" v="858" actId="14100"/>
          <ac:spMkLst>
            <pc:docMk/>
            <pc:sldMk cId="3127777440" sldId="4288"/>
            <ac:spMk id="27" creationId="{04E95F45-0F65-4F70-8457-B9D89E436DDE}"/>
          </ac:spMkLst>
        </pc:spChg>
        <pc:spChg chg="add mod">
          <ac:chgData name="Daros, Beatrix" userId="6c58ecbb-1dec-41fc-943c-f687219864f1" providerId="ADAL" clId="{047A04B8-E638-4DD4-B03E-59A1C18DE3C6}" dt="2020-04-01T11:48:10.671" v="844" actId="1035"/>
          <ac:spMkLst>
            <pc:docMk/>
            <pc:sldMk cId="3127777440" sldId="4288"/>
            <ac:spMk id="47" creationId="{66615058-B092-4426-B880-5B33A3F9390E}"/>
          </ac:spMkLst>
        </pc:spChg>
        <pc:picChg chg="add mod">
          <ac:chgData name="Daros, Beatrix" userId="6c58ecbb-1dec-41fc-943c-f687219864f1" providerId="ADAL" clId="{047A04B8-E638-4DD4-B03E-59A1C18DE3C6}" dt="2020-04-01T11:48:10.671" v="844" actId="1035"/>
          <ac:picMkLst>
            <pc:docMk/>
            <pc:sldMk cId="3127777440" sldId="4288"/>
            <ac:picMk id="45" creationId="{AA70137D-44A6-4B12-A1F0-134E97FCB0AB}"/>
          </ac:picMkLst>
        </pc:picChg>
      </pc:sldChg>
      <pc:sldChg chg="modSp">
        <pc:chgData name="Daros, Beatrix" userId="6c58ecbb-1dec-41fc-943c-f687219864f1" providerId="ADAL" clId="{047A04B8-E638-4DD4-B03E-59A1C18DE3C6}" dt="2020-04-01T16:17:42.150" v="4653" actId="14100"/>
        <pc:sldMkLst>
          <pc:docMk/>
          <pc:sldMk cId="573255691" sldId="4289"/>
        </pc:sldMkLst>
        <pc:spChg chg="mod">
          <ac:chgData name="Daros, Beatrix" userId="6c58ecbb-1dec-41fc-943c-f687219864f1" providerId="ADAL" clId="{047A04B8-E638-4DD4-B03E-59A1C18DE3C6}" dt="2020-04-01T16:17:42.150" v="4653" actId="14100"/>
          <ac:spMkLst>
            <pc:docMk/>
            <pc:sldMk cId="573255691" sldId="4289"/>
            <ac:spMk id="5" creationId="{41C58C71-36D2-1743-A231-3AD6B45E952B}"/>
          </ac:spMkLst>
        </pc:spChg>
        <pc:spChg chg="mod">
          <ac:chgData name="Daros, Beatrix" userId="6c58ecbb-1dec-41fc-943c-f687219864f1" providerId="ADAL" clId="{047A04B8-E638-4DD4-B03E-59A1C18DE3C6}" dt="2020-04-01T11:41:52.191" v="427" actId="6549"/>
          <ac:spMkLst>
            <pc:docMk/>
            <pc:sldMk cId="573255691" sldId="4289"/>
            <ac:spMk id="25" creationId="{285FFE9B-61E7-423E-BEDF-F6DC05ACFCD1}"/>
          </ac:spMkLst>
        </pc:spChg>
        <pc:spChg chg="mod">
          <ac:chgData name="Daros, Beatrix" userId="6c58ecbb-1dec-41fc-943c-f687219864f1" providerId="ADAL" clId="{047A04B8-E638-4DD4-B03E-59A1C18DE3C6}" dt="2020-04-01T11:46:27.376" v="561" actId="1038"/>
          <ac:spMkLst>
            <pc:docMk/>
            <pc:sldMk cId="573255691" sldId="4289"/>
            <ac:spMk id="29" creationId="{7BFDF9BC-5B51-46B0-A54B-44E644DA0AD7}"/>
          </ac:spMkLst>
        </pc:spChg>
        <pc:spChg chg="mod">
          <ac:chgData name="Daros, Beatrix" userId="6c58ecbb-1dec-41fc-943c-f687219864f1" providerId="ADAL" clId="{047A04B8-E638-4DD4-B03E-59A1C18DE3C6}" dt="2020-04-01T11:41:29.893" v="420" actId="207"/>
          <ac:spMkLst>
            <pc:docMk/>
            <pc:sldMk cId="573255691" sldId="4289"/>
            <ac:spMk id="30" creationId="{5DD5AFF9-0121-4D57-A2FE-858DE08291BE}"/>
          </ac:spMkLst>
        </pc:spChg>
        <pc:spChg chg="mod">
          <ac:chgData name="Daros, Beatrix" userId="6c58ecbb-1dec-41fc-943c-f687219864f1" providerId="ADAL" clId="{047A04B8-E638-4DD4-B03E-59A1C18DE3C6}" dt="2020-04-01T11:40:41.280" v="413" actId="403"/>
          <ac:spMkLst>
            <pc:docMk/>
            <pc:sldMk cId="573255691" sldId="4289"/>
            <ac:spMk id="32" creationId="{C8984AA1-E337-49D2-8C2F-04F84DECE6D5}"/>
          </ac:spMkLst>
        </pc:spChg>
      </pc:sldChg>
      <pc:sldChg chg="addSp delSp modSp ord">
        <pc:chgData name="Daros, Beatrix" userId="6c58ecbb-1dec-41fc-943c-f687219864f1" providerId="ADAL" clId="{047A04B8-E638-4DD4-B03E-59A1C18DE3C6}" dt="2020-04-01T16:13:49.978" v="4365" actId="1076"/>
        <pc:sldMkLst>
          <pc:docMk/>
          <pc:sldMk cId="1523921742" sldId="4290"/>
        </pc:sldMkLst>
        <pc:spChg chg="mod">
          <ac:chgData name="Daros, Beatrix" userId="6c58ecbb-1dec-41fc-943c-f687219864f1" providerId="ADAL" clId="{047A04B8-E638-4DD4-B03E-59A1C18DE3C6}" dt="2020-04-01T16:13:37.164" v="4364" actId="1076"/>
          <ac:spMkLst>
            <pc:docMk/>
            <pc:sldMk cId="1523921742" sldId="4290"/>
            <ac:spMk id="2" creationId="{82D2F942-D1D1-49EC-A522-DD2D8A03FBB0}"/>
          </ac:spMkLst>
        </pc:spChg>
        <pc:spChg chg="mod">
          <ac:chgData name="Daros, Beatrix" userId="6c58ecbb-1dec-41fc-943c-f687219864f1" providerId="ADAL" clId="{047A04B8-E638-4DD4-B03E-59A1C18DE3C6}" dt="2020-04-01T11:59:12.111" v="1044" actId="14100"/>
          <ac:spMkLst>
            <pc:docMk/>
            <pc:sldMk cId="1523921742" sldId="4290"/>
            <ac:spMk id="7" creationId="{DAB79589-4F04-4BA3-97B2-B29ECC22F3A7}"/>
          </ac:spMkLst>
        </pc:spChg>
        <pc:spChg chg="del">
          <ac:chgData name="Daros, Beatrix" userId="6c58ecbb-1dec-41fc-943c-f687219864f1" providerId="ADAL" clId="{047A04B8-E638-4DD4-B03E-59A1C18DE3C6}" dt="2020-04-01T11:58:33.262" v="1020" actId="478"/>
          <ac:spMkLst>
            <pc:docMk/>
            <pc:sldMk cId="1523921742" sldId="4290"/>
            <ac:spMk id="15" creationId="{00000000-0000-0000-0000-000000000000}"/>
          </ac:spMkLst>
        </pc:spChg>
        <pc:spChg chg="del">
          <ac:chgData name="Daros, Beatrix" userId="6c58ecbb-1dec-41fc-943c-f687219864f1" providerId="ADAL" clId="{047A04B8-E638-4DD4-B03E-59A1C18DE3C6}" dt="2020-04-01T11:58:43.701" v="1021" actId="478"/>
          <ac:spMkLst>
            <pc:docMk/>
            <pc:sldMk cId="1523921742" sldId="4290"/>
            <ac:spMk id="26" creationId="{2723D662-E96A-4FBB-938A-21F74F853C99}"/>
          </ac:spMkLst>
        </pc:spChg>
        <pc:spChg chg="mod">
          <ac:chgData name="Daros, Beatrix" userId="6c58ecbb-1dec-41fc-943c-f687219864f1" providerId="ADAL" clId="{047A04B8-E638-4DD4-B03E-59A1C18DE3C6}" dt="2020-04-01T11:59:26.745" v="1055" actId="14100"/>
          <ac:spMkLst>
            <pc:docMk/>
            <pc:sldMk cId="1523921742" sldId="4290"/>
            <ac:spMk id="27" creationId="{04E95F45-0F65-4F70-8457-B9D89E436DDE}"/>
          </ac:spMkLst>
        </pc:spChg>
        <pc:spChg chg="add mod">
          <ac:chgData name="Daros, Beatrix" userId="6c58ecbb-1dec-41fc-943c-f687219864f1" providerId="ADAL" clId="{047A04B8-E638-4DD4-B03E-59A1C18DE3C6}" dt="2020-04-01T11:58:56.080" v="1042" actId="1036"/>
          <ac:spMkLst>
            <pc:docMk/>
            <pc:sldMk cId="1523921742" sldId="4290"/>
            <ac:spMk id="34" creationId="{01A95ECE-233D-41B9-A04D-D689FFD2A4EC}"/>
          </ac:spMkLst>
        </pc:spChg>
        <pc:spChg chg="add mod">
          <ac:chgData name="Daros, Beatrix" userId="6c58ecbb-1dec-41fc-943c-f687219864f1" providerId="ADAL" clId="{047A04B8-E638-4DD4-B03E-59A1C18DE3C6}" dt="2020-04-01T11:59:53.212" v="1160" actId="1037"/>
          <ac:spMkLst>
            <pc:docMk/>
            <pc:sldMk cId="1523921742" sldId="4290"/>
            <ac:spMk id="36" creationId="{704C8ABA-4F78-43F9-B929-265CB8D28901}"/>
          </ac:spMkLst>
        </pc:spChg>
        <pc:spChg chg="mod">
          <ac:chgData name="Daros, Beatrix" userId="6c58ecbb-1dec-41fc-943c-f687219864f1" providerId="ADAL" clId="{047A04B8-E638-4DD4-B03E-59A1C18DE3C6}" dt="2020-04-01T16:13:49.978" v="4365" actId="1076"/>
          <ac:spMkLst>
            <pc:docMk/>
            <pc:sldMk cId="1523921742" sldId="4290"/>
            <ac:spMk id="64" creationId="{65079EA7-CF98-4D60-BFA5-F40A0EE4797D}"/>
          </ac:spMkLst>
        </pc:spChg>
        <pc:picChg chg="add mod">
          <ac:chgData name="Daros, Beatrix" userId="6c58ecbb-1dec-41fc-943c-f687219864f1" providerId="ADAL" clId="{047A04B8-E638-4DD4-B03E-59A1C18DE3C6}" dt="2020-04-01T11:59:53.212" v="1160" actId="1037"/>
          <ac:picMkLst>
            <pc:docMk/>
            <pc:sldMk cId="1523921742" sldId="4290"/>
            <ac:picMk id="35" creationId="{29791D0A-17C7-4152-978F-34EFE7EDCF5D}"/>
          </ac:picMkLst>
        </pc:picChg>
      </pc:sldChg>
      <pc:sldChg chg="addSp delSp modSp ord">
        <pc:chgData name="Daros, Beatrix" userId="6c58ecbb-1dec-41fc-943c-f687219864f1" providerId="ADAL" clId="{047A04B8-E638-4DD4-B03E-59A1C18DE3C6}" dt="2020-04-01T12:21:17.879" v="2522" actId="1037"/>
        <pc:sldMkLst>
          <pc:docMk/>
          <pc:sldMk cId="4156887589" sldId="4291"/>
        </pc:sldMkLst>
        <pc:spChg chg="mod">
          <ac:chgData name="Daros, Beatrix" userId="6c58ecbb-1dec-41fc-943c-f687219864f1" providerId="ADAL" clId="{047A04B8-E638-4DD4-B03E-59A1C18DE3C6}" dt="2020-04-01T11:57:36.079" v="987" actId="14100"/>
          <ac:spMkLst>
            <pc:docMk/>
            <pc:sldMk cId="4156887589" sldId="4291"/>
            <ac:spMk id="7" creationId="{DAB79589-4F04-4BA3-97B2-B29ECC22F3A7}"/>
          </ac:spMkLst>
        </pc:spChg>
        <pc:spChg chg="del">
          <ac:chgData name="Daros, Beatrix" userId="6c58ecbb-1dec-41fc-943c-f687219864f1" providerId="ADAL" clId="{047A04B8-E638-4DD4-B03E-59A1C18DE3C6}" dt="2020-04-01T11:57:39.288" v="988" actId="478"/>
          <ac:spMkLst>
            <pc:docMk/>
            <pc:sldMk cId="4156887589" sldId="4291"/>
            <ac:spMk id="15" creationId="{00000000-0000-0000-0000-000000000000}"/>
          </ac:spMkLst>
        </pc:spChg>
        <pc:spChg chg="del">
          <ac:chgData name="Daros, Beatrix" userId="6c58ecbb-1dec-41fc-943c-f687219864f1" providerId="ADAL" clId="{047A04B8-E638-4DD4-B03E-59A1C18DE3C6}" dt="2020-04-01T11:57:24.707" v="984" actId="478"/>
          <ac:spMkLst>
            <pc:docMk/>
            <pc:sldMk cId="4156887589" sldId="4291"/>
            <ac:spMk id="26" creationId="{2723D662-E96A-4FBB-938A-21F74F853C99}"/>
          </ac:spMkLst>
        </pc:spChg>
        <pc:spChg chg="mod">
          <ac:chgData name="Daros, Beatrix" userId="6c58ecbb-1dec-41fc-943c-f687219864f1" providerId="ADAL" clId="{047A04B8-E638-4DD4-B03E-59A1C18DE3C6}" dt="2020-04-01T11:57:46.664" v="998" actId="1036"/>
          <ac:spMkLst>
            <pc:docMk/>
            <pc:sldMk cId="4156887589" sldId="4291"/>
            <ac:spMk id="27" creationId="{04E95F45-0F65-4F70-8457-B9D89E436DDE}"/>
          </ac:spMkLst>
        </pc:spChg>
        <pc:spChg chg="add mod">
          <ac:chgData name="Daros, Beatrix" userId="6c58ecbb-1dec-41fc-943c-f687219864f1" providerId="ADAL" clId="{047A04B8-E638-4DD4-B03E-59A1C18DE3C6}" dt="2020-04-01T11:57:20.772" v="983" actId="1038"/>
          <ac:spMkLst>
            <pc:docMk/>
            <pc:sldMk cId="4156887589" sldId="4291"/>
            <ac:spMk id="35" creationId="{D7D10A79-F081-42D8-88C6-AEA8D91C6806}"/>
          </ac:spMkLst>
        </pc:spChg>
        <pc:spChg chg="add mod">
          <ac:chgData name="Daros, Beatrix" userId="6c58ecbb-1dec-41fc-943c-f687219864f1" providerId="ADAL" clId="{047A04B8-E638-4DD4-B03E-59A1C18DE3C6}" dt="2020-04-01T11:58:06.413" v="1015" actId="1036"/>
          <ac:spMkLst>
            <pc:docMk/>
            <pc:sldMk cId="4156887589" sldId="4291"/>
            <ac:spMk id="36" creationId="{841411C9-C397-48F0-89FB-37F4F78BF8F2}"/>
          </ac:spMkLst>
        </pc:spChg>
        <pc:spChg chg="del">
          <ac:chgData name="Daros, Beatrix" userId="6c58ecbb-1dec-41fc-943c-f687219864f1" providerId="ADAL" clId="{047A04B8-E638-4DD4-B03E-59A1C18DE3C6}" dt="2020-04-01T12:18:03.137" v="2234" actId="478"/>
          <ac:spMkLst>
            <pc:docMk/>
            <pc:sldMk cId="4156887589" sldId="4291"/>
            <ac:spMk id="38" creationId="{F300A5D4-C31F-408F-8807-A02D2FDC57D1}"/>
          </ac:spMkLst>
        </pc:spChg>
        <pc:spChg chg="del">
          <ac:chgData name="Daros, Beatrix" userId="6c58ecbb-1dec-41fc-943c-f687219864f1" providerId="ADAL" clId="{047A04B8-E638-4DD4-B03E-59A1C18DE3C6}" dt="2020-04-01T12:18:00.724" v="2233" actId="478"/>
          <ac:spMkLst>
            <pc:docMk/>
            <pc:sldMk cId="4156887589" sldId="4291"/>
            <ac:spMk id="39" creationId="{8BF57BB5-878B-4F3D-B5AD-5E769ED048F8}"/>
          </ac:spMkLst>
        </pc:spChg>
        <pc:spChg chg="del">
          <ac:chgData name="Daros, Beatrix" userId="6c58ecbb-1dec-41fc-943c-f687219864f1" providerId="ADAL" clId="{047A04B8-E638-4DD4-B03E-59A1C18DE3C6}" dt="2020-04-01T12:17:58.499" v="2232" actId="478"/>
          <ac:spMkLst>
            <pc:docMk/>
            <pc:sldMk cId="4156887589" sldId="4291"/>
            <ac:spMk id="40" creationId="{A1428BFF-8705-4ADF-9942-BB1C55963B79}"/>
          </ac:spMkLst>
        </pc:spChg>
        <pc:spChg chg="add del">
          <ac:chgData name="Daros, Beatrix" userId="6c58ecbb-1dec-41fc-943c-f687219864f1" providerId="ADAL" clId="{047A04B8-E638-4DD4-B03E-59A1C18DE3C6}" dt="2020-04-01T12:17:47.730" v="2229" actId="478"/>
          <ac:spMkLst>
            <pc:docMk/>
            <pc:sldMk cId="4156887589" sldId="4291"/>
            <ac:spMk id="45" creationId="{359CF458-3F22-40D5-8F6A-2E268AEE9ADE}"/>
          </ac:spMkLst>
        </pc:spChg>
        <pc:spChg chg="add mod ord">
          <ac:chgData name="Daros, Beatrix" userId="6c58ecbb-1dec-41fc-943c-f687219864f1" providerId="ADAL" clId="{047A04B8-E638-4DD4-B03E-59A1C18DE3C6}" dt="2020-04-01T12:21:17.879" v="2522" actId="1037"/>
          <ac:spMkLst>
            <pc:docMk/>
            <pc:sldMk cId="4156887589" sldId="4291"/>
            <ac:spMk id="47" creationId="{ACC4E771-D3A2-4404-BB9C-652B9006F3DA}"/>
          </ac:spMkLst>
        </pc:spChg>
        <pc:spChg chg="add mod ord">
          <ac:chgData name="Daros, Beatrix" userId="6c58ecbb-1dec-41fc-943c-f687219864f1" providerId="ADAL" clId="{047A04B8-E638-4DD4-B03E-59A1C18DE3C6}" dt="2020-04-01T12:21:13.488" v="2514" actId="1038"/>
          <ac:spMkLst>
            <pc:docMk/>
            <pc:sldMk cId="4156887589" sldId="4291"/>
            <ac:spMk id="55" creationId="{87168DBB-B840-49C3-B852-EA2FEF3CD077}"/>
          </ac:spMkLst>
        </pc:spChg>
        <pc:spChg chg="add mod ord">
          <ac:chgData name="Daros, Beatrix" userId="6c58ecbb-1dec-41fc-943c-f687219864f1" providerId="ADAL" clId="{047A04B8-E638-4DD4-B03E-59A1C18DE3C6}" dt="2020-04-01T12:21:09.229" v="2507" actId="1038"/>
          <ac:spMkLst>
            <pc:docMk/>
            <pc:sldMk cId="4156887589" sldId="4291"/>
            <ac:spMk id="56" creationId="{A5DB3CD8-E3A5-4576-9383-8A54FEBCB1EA}"/>
          </ac:spMkLst>
        </pc:spChg>
        <pc:picChg chg="add mod">
          <ac:chgData name="Daros, Beatrix" userId="6c58ecbb-1dec-41fc-943c-f687219864f1" providerId="ADAL" clId="{047A04B8-E638-4DD4-B03E-59A1C18DE3C6}" dt="2020-04-01T11:57:20.772" v="983" actId="1038"/>
          <ac:picMkLst>
            <pc:docMk/>
            <pc:sldMk cId="4156887589" sldId="4291"/>
            <ac:picMk id="34" creationId="{511C9605-1601-4165-9176-337ED51B3B66}"/>
          </ac:picMkLst>
        </pc:picChg>
      </pc:sldChg>
      <pc:sldChg chg="addSp delSp modSp add del">
        <pc:chgData name="Daros, Beatrix" userId="6c58ecbb-1dec-41fc-943c-f687219864f1" providerId="ADAL" clId="{047A04B8-E638-4DD4-B03E-59A1C18DE3C6}" dt="2020-04-01T13:59:25.525" v="2835" actId="2696"/>
        <pc:sldMkLst>
          <pc:docMk/>
          <pc:sldMk cId="607415959" sldId="4292"/>
        </pc:sldMkLst>
        <pc:spChg chg="del">
          <ac:chgData name="Daros, Beatrix" userId="6c58ecbb-1dec-41fc-943c-f687219864f1" providerId="ADAL" clId="{047A04B8-E638-4DD4-B03E-59A1C18DE3C6}" dt="2020-04-01T12:06:21.672" v="1304" actId="478"/>
          <ac:spMkLst>
            <pc:docMk/>
            <pc:sldMk cId="607415959" sldId="4292"/>
            <ac:spMk id="2" creationId="{82D2F942-D1D1-49EC-A522-DD2D8A03FBB0}"/>
          </ac:spMkLst>
        </pc:spChg>
        <pc:spChg chg="del">
          <ac:chgData name="Daros, Beatrix" userId="6c58ecbb-1dec-41fc-943c-f687219864f1" providerId="ADAL" clId="{047A04B8-E638-4DD4-B03E-59A1C18DE3C6}" dt="2020-04-01T12:04:44.213" v="1267" actId="478"/>
          <ac:spMkLst>
            <pc:docMk/>
            <pc:sldMk cId="607415959" sldId="4292"/>
            <ac:spMk id="7" creationId="{DAB79589-4F04-4BA3-97B2-B29ECC22F3A7}"/>
          </ac:spMkLst>
        </pc:spChg>
        <pc:spChg chg="add mod">
          <ac:chgData name="Daros, Beatrix" userId="6c58ecbb-1dec-41fc-943c-f687219864f1" providerId="ADAL" clId="{047A04B8-E638-4DD4-B03E-59A1C18DE3C6}" dt="2020-04-01T12:28:09.220" v="2818" actId="113"/>
          <ac:spMkLst>
            <pc:docMk/>
            <pc:sldMk cId="607415959" sldId="4292"/>
            <ac:spMk id="8" creationId="{4BB34502-666D-4AF5-AEA1-BA4D8E912D89}"/>
          </ac:spMkLst>
        </pc:spChg>
        <pc:spChg chg="del">
          <ac:chgData name="Daros, Beatrix" userId="6c58ecbb-1dec-41fc-943c-f687219864f1" providerId="ADAL" clId="{047A04B8-E638-4DD4-B03E-59A1C18DE3C6}" dt="2020-04-01T12:05:55.547" v="1299" actId="478"/>
          <ac:spMkLst>
            <pc:docMk/>
            <pc:sldMk cId="607415959" sldId="4292"/>
            <ac:spMk id="18" creationId="{0885C367-DC7F-4527-B68B-D35A35BADCD6}"/>
          </ac:spMkLst>
        </pc:spChg>
        <pc:spChg chg="del">
          <ac:chgData name="Daros, Beatrix" userId="6c58ecbb-1dec-41fc-943c-f687219864f1" providerId="ADAL" clId="{047A04B8-E638-4DD4-B03E-59A1C18DE3C6}" dt="2020-04-01T12:05:36.288" v="1297" actId="478"/>
          <ac:spMkLst>
            <pc:docMk/>
            <pc:sldMk cId="607415959" sldId="4292"/>
            <ac:spMk id="19" creationId="{CD245E3D-59A1-41E2-8CDB-7DD071B4D60E}"/>
          </ac:spMkLst>
        </pc:spChg>
        <pc:spChg chg="del">
          <ac:chgData name="Daros, Beatrix" userId="6c58ecbb-1dec-41fc-943c-f687219864f1" providerId="ADAL" clId="{047A04B8-E638-4DD4-B03E-59A1C18DE3C6}" dt="2020-04-01T12:04:42.283" v="1266" actId="478"/>
          <ac:spMkLst>
            <pc:docMk/>
            <pc:sldMk cId="607415959" sldId="4292"/>
            <ac:spMk id="27" creationId="{04E95F45-0F65-4F70-8457-B9D89E436DDE}"/>
          </ac:spMkLst>
        </pc:spChg>
        <pc:spChg chg="del">
          <ac:chgData name="Daros, Beatrix" userId="6c58ecbb-1dec-41fc-943c-f687219864f1" providerId="ADAL" clId="{047A04B8-E638-4DD4-B03E-59A1C18DE3C6}" dt="2020-04-01T12:05:32.953" v="1295" actId="478"/>
          <ac:spMkLst>
            <pc:docMk/>
            <pc:sldMk cId="607415959" sldId="4292"/>
            <ac:spMk id="33" creationId="{00000000-0000-0000-0000-000000000000}"/>
          </ac:spMkLst>
        </pc:spChg>
        <pc:spChg chg="del">
          <ac:chgData name="Daros, Beatrix" userId="6c58ecbb-1dec-41fc-943c-f687219864f1" providerId="ADAL" clId="{047A04B8-E638-4DD4-B03E-59A1C18DE3C6}" dt="2020-04-01T12:14:11.919" v="1858"/>
          <ac:spMkLst>
            <pc:docMk/>
            <pc:sldMk cId="607415959" sldId="4292"/>
            <ac:spMk id="34" creationId="{01A95ECE-233D-41B9-A04D-D689FFD2A4EC}"/>
          </ac:spMkLst>
        </pc:spChg>
        <pc:spChg chg="del">
          <ac:chgData name="Daros, Beatrix" userId="6c58ecbb-1dec-41fc-943c-f687219864f1" providerId="ADAL" clId="{047A04B8-E638-4DD4-B03E-59A1C18DE3C6}" dt="2020-04-01T12:14:08.347" v="1857" actId="478"/>
          <ac:spMkLst>
            <pc:docMk/>
            <pc:sldMk cId="607415959" sldId="4292"/>
            <ac:spMk id="36" creationId="{704C8ABA-4F78-43F9-B929-265CB8D28901}"/>
          </ac:spMkLst>
        </pc:spChg>
        <pc:spChg chg="add mod">
          <ac:chgData name="Daros, Beatrix" userId="6c58ecbb-1dec-41fc-943c-f687219864f1" providerId="ADAL" clId="{047A04B8-E638-4DD4-B03E-59A1C18DE3C6}" dt="2020-04-01T12:26:46.553" v="2747" actId="1038"/>
          <ac:spMkLst>
            <pc:docMk/>
            <pc:sldMk cId="607415959" sldId="4292"/>
            <ac:spMk id="37" creationId="{36837226-F38B-459B-843B-E8AAC16843C0}"/>
          </ac:spMkLst>
        </pc:spChg>
        <pc:spChg chg="del">
          <ac:chgData name="Daros, Beatrix" userId="6c58ecbb-1dec-41fc-943c-f687219864f1" providerId="ADAL" clId="{047A04B8-E638-4DD4-B03E-59A1C18DE3C6}" dt="2020-04-01T12:16:49.650" v="2168" actId="478"/>
          <ac:spMkLst>
            <pc:docMk/>
            <pc:sldMk cId="607415959" sldId="4292"/>
            <ac:spMk id="38" creationId="{F300A5D4-C31F-408F-8807-A02D2FDC57D1}"/>
          </ac:spMkLst>
        </pc:spChg>
        <pc:spChg chg="del">
          <ac:chgData name="Daros, Beatrix" userId="6c58ecbb-1dec-41fc-943c-f687219864f1" providerId="ADAL" clId="{047A04B8-E638-4DD4-B03E-59A1C18DE3C6}" dt="2020-04-01T12:16:47.780" v="2167" actId="478"/>
          <ac:spMkLst>
            <pc:docMk/>
            <pc:sldMk cId="607415959" sldId="4292"/>
            <ac:spMk id="39" creationId="{8BF57BB5-878B-4F3D-B5AD-5E769ED048F8}"/>
          </ac:spMkLst>
        </pc:spChg>
        <pc:spChg chg="del">
          <ac:chgData name="Daros, Beatrix" userId="6c58ecbb-1dec-41fc-943c-f687219864f1" providerId="ADAL" clId="{047A04B8-E638-4DD4-B03E-59A1C18DE3C6}" dt="2020-04-01T12:14:11.919" v="1858"/>
          <ac:spMkLst>
            <pc:docMk/>
            <pc:sldMk cId="607415959" sldId="4292"/>
            <ac:spMk id="40" creationId="{A1428BFF-8705-4ADF-9942-BB1C55963B79}"/>
          </ac:spMkLst>
        </pc:spChg>
        <pc:spChg chg="mod">
          <ac:chgData name="Daros, Beatrix" userId="6c58ecbb-1dec-41fc-943c-f687219864f1" providerId="ADAL" clId="{047A04B8-E638-4DD4-B03E-59A1C18DE3C6}" dt="2020-04-01T12:16:40.613" v="2150" actId="164"/>
          <ac:spMkLst>
            <pc:docMk/>
            <pc:sldMk cId="607415959" sldId="4292"/>
            <ac:spMk id="45" creationId="{CB8E7272-A0CC-4280-AD26-C68E7D2C233D}"/>
          </ac:spMkLst>
        </pc:spChg>
        <pc:spChg chg="add mod">
          <ac:chgData name="Daros, Beatrix" userId="6c58ecbb-1dec-41fc-943c-f687219864f1" providerId="ADAL" clId="{047A04B8-E638-4DD4-B03E-59A1C18DE3C6}" dt="2020-04-01T12:16:40.613" v="2150" actId="164"/>
          <ac:spMkLst>
            <pc:docMk/>
            <pc:sldMk cId="607415959" sldId="4292"/>
            <ac:spMk id="46" creationId="{95972A05-0192-4B90-97BD-AF20E8FCB973}"/>
          </ac:spMkLst>
        </pc:spChg>
        <pc:spChg chg="add mod">
          <ac:chgData name="Daros, Beatrix" userId="6c58ecbb-1dec-41fc-943c-f687219864f1" providerId="ADAL" clId="{047A04B8-E638-4DD4-B03E-59A1C18DE3C6}" dt="2020-04-01T12:16:40.613" v="2150" actId="164"/>
          <ac:spMkLst>
            <pc:docMk/>
            <pc:sldMk cId="607415959" sldId="4292"/>
            <ac:spMk id="54" creationId="{9F7E1EA8-3DEE-4A77-93F9-958DA2F05C08}"/>
          </ac:spMkLst>
        </pc:spChg>
        <pc:spChg chg="add mod">
          <ac:chgData name="Daros, Beatrix" userId="6c58ecbb-1dec-41fc-943c-f687219864f1" providerId="ADAL" clId="{047A04B8-E638-4DD4-B03E-59A1C18DE3C6}" dt="2020-04-01T12:16:40.613" v="2150" actId="164"/>
          <ac:spMkLst>
            <pc:docMk/>
            <pc:sldMk cId="607415959" sldId="4292"/>
            <ac:spMk id="59" creationId="{AE326B99-1CAC-4985-9570-021568F7D87F}"/>
          </ac:spMkLst>
        </pc:spChg>
        <pc:spChg chg="del">
          <ac:chgData name="Daros, Beatrix" userId="6c58ecbb-1dec-41fc-943c-f687219864f1" providerId="ADAL" clId="{047A04B8-E638-4DD4-B03E-59A1C18DE3C6}" dt="2020-04-01T12:05:34.633" v="1296" actId="478"/>
          <ac:spMkLst>
            <pc:docMk/>
            <pc:sldMk cId="607415959" sldId="4292"/>
            <ac:spMk id="61" creationId="{0885C367-DC7F-4527-B68B-D35A35BADCD6}"/>
          </ac:spMkLst>
        </pc:spChg>
        <pc:spChg chg="mod">
          <ac:chgData name="Daros, Beatrix" userId="6c58ecbb-1dec-41fc-943c-f687219864f1" providerId="ADAL" clId="{047A04B8-E638-4DD4-B03E-59A1C18DE3C6}" dt="2020-04-01T12:16:40.613" v="2150" actId="164"/>
          <ac:spMkLst>
            <pc:docMk/>
            <pc:sldMk cId="607415959" sldId="4292"/>
            <ac:spMk id="62" creationId="{1BC02A69-9A11-4092-B7F4-9602E982CBF6}"/>
          </ac:spMkLst>
        </pc:spChg>
        <pc:spChg chg="del">
          <ac:chgData name="Daros, Beatrix" userId="6c58ecbb-1dec-41fc-943c-f687219864f1" providerId="ADAL" clId="{047A04B8-E638-4DD4-B03E-59A1C18DE3C6}" dt="2020-04-01T12:06:15.885" v="1303" actId="478"/>
          <ac:spMkLst>
            <pc:docMk/>
            <pc:sldMk cId="607415959" sldId="4292"/>
            <ac:spMk id="64" creationId="{65079EA7-CF98-4D60-BFA5-F40A0EE4797D}"/>
          </ac:spMkLst>
        </pc:spChg>
        <pc:spChg chg="del">
          <ac:chgData name="Daros, Beatrix" userId="6c58ecbb-1dec-41fc-943c-f687219864f1" providerId="ADAL" clId="{047A04B8-E638-4DD4-B03E-59A1C18DE3C6}" dt="2020-04-01T12:06:33.514" v="1305" actId="478"/>
          <ac:spMkLst>
            <pc:docMk/>
            <pc:sldMk cId="607415959" sldId="4292"/>
            <ac:spMk id="65" creationId="{188EAAE0-E948-43FD-98EE-2C5BC47C958A}"/>
          </ac:spMkLst>
        </pc:spChg>
        <pc:spChg chg="mod">
          <ac:chgData name="Daros, Beatrix" userId="6c58ecbb-1dec-41fc-943c-f687219864f1" providerId="ADAL" clId="{047A04B8-E638-4DD4-B03E-59A1C18DE3C6}" dt="2020-04-01T12:16:40.613" v="2150" actId="164"/>
          <ac:spMkLst>
            <pc:docMk/>
            <pc:sldMk cId="607415959" sldId="4292"/>
            <ac:spMk id="68" creationId="{FE7B5E8C-E894-4638-9AC8-AEE2090EA607}"/>
          </ac:spMkLst>
        </pc:spChg>
        <pc:spChg chg="add mod">
          <ac:chgData name="Daros, Beatrix" userId="6c58ecbb-1dec-41fc-943c-f687219864f1" providerId="ADAL" clId="{047A04B8-E638-4DD4-B03E-59A1C18DE3C6}" dt="2020-04-01T12:23:47.557" v="2581" actId="164"/>
          <ac:spMkLst>
            <pc:docMk/>
            <pc:sldMk cId="607415959" sldId="4292"/>
            <ac:spMk id="70" creationId="{AD55C928-206E-46FC-8D18-D8D06D90CB8D}"/>
          </ac:spMkLst>
        </pc:spChg>
        <pc:spChg chg="add mod">
          <ac:chgData name="Daros, Beatrix" userId="6c58ecbb-1dec-41fc-943c-f687219864f1" providerId="ADAL" clId="{047A04B8-E638-4DD4-B03E-59A1C18DE3C6}" dt="2020-04-01T12:23:38.097" v="2575" actId="164"/>
          <ac:spMkLst>
            <pc:docMk/>
            <pc:sldMk cId="607415959" sldId="4292"/>
            <ac:spMk id="71" creationId="{ABF1A12A-7CC9-4374-9011-267B7D5D3031}"/>
          </ac:spMkLst>
        </pc:spChg>
        <pc:spChg chg="add mod">
          <ac:chgData name="Daros, Beatrix" userId="6c58ecbb-1dec-41fc-943c-f687219864f1" providerId="ADAL" clId="{047A04B8-E638-4DD4-B03E-59A1C18DE3C6}" dt="2020-04-01T12:23:26.673" v="2557" actId="164"/>
          <ac:spMkLst>
            <pc:docMk/>
            <pc:sldMk cId="607415959" sldId="4292"/>
            <ac:spMk id="79" creationId="{20CA61EC-36BC-4527-88F4-58EF1EE3FF1A}"/>
          </ac:spMkLst>
        </pc:spChg>
        <pc:spChg chg="add del mod">
          <ac:chgData name="Daros, Beatrix" userId="6c58ecbb-1dec-41fc-943c-f687219864f1" providerId="ADAL" clId="{047A04B8-E638-4DD4-B03E-59A1C18DE3C6}" dt="2020-04-01T12:17:38.538" v="2227" actId="478"/>
          <ac:spMkLst>
            <pc:docMk/>
            <pc:sldMk cId="607415959" sldId="4292"/>
            <ac:spMk id="80" creationId="{B21C6923-7C64-433A-8327-0AB38309AB2F}"/>
          </ac:spMkLst>
        </pc:spChg>
        <pc:spChg chg="add del">
          <ac:chgData name="Daros, Beatrix" userId="6c58ecbb-1dec-41fc-943c-f687219864f1" providerId="ADAL" clId="{047A04B8-E638-4DD4-B03E-59A1C18DE3C6}" dt="2020-04-01T12:17:54.441" v="2231" actId="478"/>
          <ac:spMkLst>
            <pc:docMk/>
            <pc:sldMk cId="607415959" sldId="4292"/>
            <ac:spMk id="81" creationId="{3B5D1093-5A33-4276-9F61-FBE9FA815EF5}"/>
          </ac:spMkLst>
        </pc:spChg>
        <pc:spChg chg="add del mod">
          <ac:chgData name="Daros, Beatrix" userId="6c58ecbb-1dec-41fc-943c-f687219864f1" providerId="ADAL" clId="{047A04B8-E638-4DD4-B03E-59A1C18DE3C6}" dt="2020-04-01T12:22:27.437" v="2548" actId="478"/>
          <ac:spMkLst>
            <pc:docMk/>
            <pc:sldMk cId="607415959" sldId="4292"/>
            <ac:spMk id="91" creationId="{7855FD6F-F137-46F3-9CA3-6DD61AD52131}"/>
          </ac:spMkLst>
        </pc:spChg>
        <pc:spChg chg="add del mod">
          <ac:chgData name="Daros, Beatrix" userId="6c58ecbb-1dec-41fc-943c-f687219864f1" providerId="ADAL" clId="{047A04B8-E638-4DD4-B03E-59A1C18DE3C6}" dt="2020-04-01T12:22:00.486" v="2544" actId="478"/>
          <ac:spMkLst>
            <pc:docMk/>
            <pc:sldMk cId="607415959" sldId="4292"/>
            <ac:spMk id="92" creationId="{28DF9CEE-9360-46B5-9008-6AC38819C46E}"/>
          </ac:spMkLst>
        </pc:spChg>
        <pc:spChg chg="add del mod">
          <ac:chgData name="Daros, Beatrix" userId="6c58ecbb-1dec-41fc-943c-f687219864f1" providerId="ADAL" clId="{047A04B8-E638-4DD4-B03E-59A1C18DE3C6}" dt="2020-04-01T12:21:38.505" v="2541" actId="478"/>
          <ac:spMkLst>
            <pc:docMk/>
            <pc:sldMk cId="607415959" sldId="4292"/>
            <ac:spMk id="93" creationId="{2213CA83-D70F-412B-BC8E-DEBC1BBCC78E}"/>
          </ac:spMkLst>
        </pc:spChg>
        <pc:spChg chg="mod">
          <ac:chgData name="Daros, Beatrix" userId="6c58ecbb-1dec-41fc-943c-f687219864f1" providerId="ADAL" clId="{047A04B8-E638-4DD4-B03E-59A1C18DE3C6}" dt="2020-04-01T12:22:13.897" v="2546" actId="1076"/>
          <ac:spMkLst>
            <pc:docMk/>
            <pc:sldMk cId="607415959" sldId="4292"/>
            <ac:spMk id="101" creationId="{D71B29E2-46F1-4F9B-B9B8-C82F5FF81D8A}"/>
          </ac:spMkLst>
        </pc:spChg>
        <pc:spChg chg="add del mod">
          <ac:chgData name="Daros, Beatrix" userId="6c58ecbb-1dec-41fc-943c-f687219864f1" providerId="ADAL" clId="{047A04B8-E638-4DD4-B03E-59A1C18DE3C6}" dt="2020-04-01T12:22:54.083" v="2551" actId="478"/>
          <ac:spMkLst>
            <pc:docMk/>
            <pc:sldMk cId="607415959" sldId="4292"/>
            <ac:spMk id="103" creationId="{76E90AF6-D6FE-437A-B28C-595CB3290723}"/>
          </ac:spMkLst>
        </pc:spChg>
        <pc:spChg chg="del topLvl">
          <ac:chgData name="Daros, Beatrix" userId="6c58ecbb-1dec-41fc-943c-f687219864f1" providerId="ADAL" clId="{047A04B8-E638-4DD4-B03E-59A1C18DE3C6}" dt="2020-04-01T12:22:58.300" v="2552" actId="478"/>
          <ac:spMkLst>
            <pc:docMk/>
            <pc:sldMk cId="607415959" sldId="4292"/>
            <ac:spMk id="105" creationId="{56670D52-1646-47B3-AFED-C1EBDBBB9732}"/>
          </ac:spMkLst>
        </pc:spChg>
        <pc:spChg chg="del topLvl">
          <ac:chgData name="Daros, Beatrix" userId="6c58ecbb-1dec-41fc-943c-f687219864f1" providerId="ADAL" clId="{047A04B8-E638-4DD4-B03E-59A1C18DE3C6}" dt="2020-04-01T12:23:03.185" v="2553" actId="478"/>
          <ac:spMkLst>
            <pc:docMk/>
            <pc:sldMk cId="607415959" sldId="4292"/>
            <ac:spMk id="106" creationId="{D1ED7E10-E971-4DB7-9E82-63717B95F66C}"/>
          </ac:spMkLst>
        </pc:spChg>
        <pc:spChg chg="add mod">
          <ac:chgData name="Daros, Beatrix" userId="6c58ecbb-1dec-41fc-943c-f687219864f1" providerId="ADAL" clId="{047A04B8-E638-4DD4-B03E-59A1C18DE3C6}" dt="2020-04-01T12:28:05.995" v="2817" actId="1076"/>
          <ac:spMkLst>
            <pc:docMk/>
            <pc:sldMk cId="607415959" sldId="4292"/>
            <ac:spMk id="111" creationId="{4B482C23-480C-42EC-9FD2-3BFDE5DD7BEE}"/>
          </ac:spMkLst>
        </pc:spChg>
        <pc:grpChg chg="add mod">
          <ac:chgData name="Daros, Beatrix" userId="6c58ecbb-1dec-41fc-943c-f687219864f1" providerId="ADAL" clId="{047A04B8-E638-4DD4-B03E-59A1C18DE3C6}" dt="2020-04-01T12:16:42.935" v="2166" actId="1036"/>
          <ac:grpSpMkLst>
            <pc:docMk/>
            <pc:sldMk cId="607415959" sldId="4292"/>
            <ac:grpSpMk id="3" creationId="{A1D1A3A8-242E-46C2-9FFB-8F0C1ED4343B}"/>
          </ac:grpSpMkLst>
        </pc:grpChg>
        <pc:grpChg chg="add mod">
          <ac:chgData name="Daros, Beatrix" userId="6c58ecbb-1dec-41fc-943c-f687219864f1" providerId="ADAL" clId="{047A04B8-E638-4DD4-B03E-59A1C18DE3C6}" dt="2020-04-01T12:23:55.813" v="2609" actId="1038"/>
          <ac:grpSpMkLst>
            <pc:docMk/>
            <pc:sldMk cId="607415959" sldId="4292"/>
            <ac:grpSpMk id="4" creationId="{FB374C64-5039-4849-A970-BC9953F27D51}"/>
          </ac:grpSpMkLst>
        </pc:grpChg>
        <pc:grpChg chg="add mod">
          <ac:chgData name="Daros, Beatrix" userId="6c58ecbb-1dec-41fc-943c-f687219864f1" providerId="ADAL" clId="{047A04B8-E638-4DD4-B03E-59A1C18DE3C6}" dt="2020-04-01T12:23:55.813" v="2609" actId="1038"/>
          <ac:grpSpMkLst>
            <pc:docMk/>
            <pc:sldMk cId="607415959" sldId="4292"/>
            <ac:grpSpMk id="5" creationId="{5E644ECD-8201-420C-9692-B7E0DAE17793}"/>
          </ac:grpSpMkLst>
        </pc:grpChg>
        <pc:grpChg chg="add mod">
          <ac:chgData name="Daros, Beatrix" userId="6c58ecbb-1dec-41fc-943c-f687219864f1" providerId="ADAL" clId="{047A04B8-E638-4DD4-B03E-59A1C18DE3C6}" dt="2020-04-01T12:23:55.813" v="2609" actId="1038"/>
          <ac:grpSpMkLst>
            <pc:docMk/>
            <pc:sldMk cId="607415959" sldId="4292"/>
            <ac:grpSpMk id="6" creationId="{9EC4F071-6004-4619-AAFA-857D4E391C35}"/>
          </ac:grpSpMkLst>
        </pc:grpChg>
        <pc:grpChg chg="del">
          <ac:chgData name="Daros, Beatrix" userId="6c58ecbb-1dec-41fc-943c-f687219864f1" providerId="ADAL" clId="{047A04B8-E638-4DD4-B03E-59A1C18DE3C6}" dt="2020-04-01T12:16:55.276" v="2169" actId="478"/>
          <ac:grpSpMkLst>
            <pc:docMk/>
            <pc:sldMk cId="607415959" sldId="4292"/>
            <ac:grpSpMk id="41" creationId="{25C57F4B-CDD3-4FC5-B74E-A1DF0C048AA1}"/>
          </ac:grpSpMkLst>
        </pc:grpChg>
        <pc:grpChg chg="mod">
          <ac:chgData name="Daros, Beatrix" userId="6c58ecbb-1dec-41fc-943c-f687219864f1" providerId="ADAL" clId="{047A04B8-E638-4DD4-B03E-59A1C18DE3C6}" dt="2020-04-01T12:14:24.854" v="1859" actId="1076"/>
          <ac:grpSpMkLst>
            <pc:docMk/>
            <pc:sldMk cId="607415959" sldId="4292"/>
            <ac:grpSpMk id="44" creationId="{633DC0BC-47F3-42B6-97C6-FE628D4AED14}"/>
          </ac:grpSpMkLst>
        </pc:grpChg>
        <pc:grpChg chg="del">
          <ac:chgData name="Daros, Beatrix" userId="6c58ecbb-1dec-41fc-943c-f687219864f1" providerId="ADAL" clId="{047A04B8-E638-4DD4-B03E-59A1C18DE3C6}" dt="2020-04-01T12:16:58.112" v="2170" actId="478"/>
          <ac:grpSpMkLst>
            <pc:docMk/>
            <pc:sldMk cId="607415959" sldId="4292"/>
            <ac:grpSpMk id="50" creationId="{7A6AC5E3-F253-49DB-AA86-117582E5B536}"/>
          </ac:grpSpMkLst>
        </pc:grpChg>
        <pc:grpChg chg="add mod">
          <ac:chgData name="Daros, Beatrix" userId="6c58ecbb-1dec-41fc-943c-f687219864f1" providerId="ADAL" clId="{047A04B8-E638-4DD4-B03E-59A1C18DE3C6}" dt="2020-04-01T12:15:42.354" v="1984" actId="1076"/>
          <ac:grpSpMkLst>
            <pc:docMk/>
            <pc:sldMk cId="607415959" sldId="4292"/>
            <ac:grpSpMk id="73" creationId="{7B1CE12C-7770-41B3-9187-66725D576036}"/>
          </ac:grpSpMkLst>
        </pc:grpChg>
        <pc:grpChg chg="add mod">
          <ac:chgData name="Daros, Beatrix" userId="6c58ecbb-1dec-41fc-943c-f687219864f1" providerId="ADAL" clId="{047A04B8-E638-4DD4-B03E-59A1C18DE3C6}" dt="2020-04-01T12:16:31.007" v="2149" actId="1037"/>
          <ac:grpSpMkLst>
            <pc:docMk/>
            <pc:sldMk cId="607415959" sldId="4292"/>
            <ac:grpSpMk id="76" creationId="{74365551-84A5-49EB-A484-1F8E03A6B648}"/>
          </ac:grpSpMkLst>
        </pc:grpChg>
        <pc:grpChg chg="add mod">
          <ac:chgData name="Daros, Beatrix" userId="6c58ecbb-1dec-41fc-943c-f687219864f1" providerId="ADAL" clId="{047A04B8-E638-4DD4-B03E-59A1C18DE3C6}" dt="2020-04-01T12:19:44.497" v="2350" actId="1038"/>
          <ac:grpSpMkLst>
            <pc:docMk/>
            <pc:sldMk cId="607415959" sldId="4292"/>
            <ac:grpSpMk id="82" creationId="{BB9C795B-FD73-4325-866C-2EE11811DA60}"/>
          </ac:grpSpMkLst>
        </pc:grpChg>
        <pc:grpChg chg="add mod">
          <ac:chgData name="Daros, Beatrix" userId="6c58ecbb-1dec-41fc-943c-f687219864f1" providerId="ADAL" clId="{047A04B8-E638-4DD4-B03E-59A1C18DE3C6}" dt="2020-04-01T12:20:11.279" v="2452" actId="1036"/>
          <ac:grpSpMkLst>
            <pc:docMk/>
            <pc:sldMk cId="607415959" sldId="4292"/>
            <ac:grpSpMk id="85" creationId="{2E4F7BCA-F856-43F6-8197-7DFA7F233650}"/>
          </ac:grpSpMkLst>
        </pc:grpChg>
        <pc:grpChg chg="add mod">
          <ac:chgData name="Daros, Beatrix" userId="6c58ecbb-1dec-41fc-943c-f687219864f1" providerId="ADAL" clId="{047A04B8-E638-4DD4-B03E-59A1C18DE3C6}" dt="2020-04-01T12:20:28.235" v="2454" actId="1076"/>
          <ac:grpSpMkLst>
            <pc:docMk/>
            <pc:sldMk cId="607415959" sldId="4292"/>
            <ac:grpSpMk id="88" creationId="{BB960C54-71FC-4779-9995-C112BBFB1FFA}"/>
          </ac:grpSpMkLst>
        </pc:grpChg>
        <pc:grpChg chg="add mod">
          <ac:chgData name="Daros, Beatrix" userId="6c58ecbb-1dec-41fc-943c-f687219864f1" providerId="ADAL" clId="{047A04B8-E638-4DD4-B03E-59A1C18DE3C6}" dt="2020-04-01T12:21:58.234" v="2543" actId="1076"/>
          <ac:grpSpMkLst>
            <pc:docMk/>
            <pc:sldMk cId="607415959" sldId="4292"/>
            <ac:grpSpMk id="94" creationId="{1077AD14-9082-4C72-A201-50322D28C347}"/>
          </ac:grpSpMkLst>
        </pc:grpChg>
        <pc:grpChg chg="add mod">
          <ac:chgData name="Daros, Beatrix" userId="6c58ecbb-1dec-41fc-943c-f687219864f1" providerId="ADAL" clId="{047A04B8-E638-4DD4-B03E-59A1C18DE3C6}" dt="2020-04-01T12:21:45.914" v="2542" actId="1076"/>
          <ac:grpSpMkLst>
            <pc:docMk/>
            <pc:sldMk cId="607415959" sldId="4292"/>
            <ac:grpSpMk id="97" creationId="{C8C215C5-E3D6-479B-BBF7-5A6D4758FE2C}"/>
          </ac:grpSpMkLst>
        </pc:grpChg>
        <pc:grpChg chg="add mod">
          <ac:chgData name="Daros, Beatrix" userId="6c58ecbb-1dec-41fc-943c-f687219864f1" providerId="ADAL" clId="{047A04B8-E638-4DD4-B03E-59A1C18DE3C6}" dt="2020-04-01T12:22:23.575" v="2547" actId="1076"/>
          <ac:grpSpMkLst>
            <pc:docMk/>
            <pc:sldMk cId="607415959" sldId="4292"/>
            <ac:grpSpMk id="100" creationId="{BEFDD28E-52B3-4514-BC4A-EB61310B56D1}"/>
          </ac:grpSpMkLst>
        </pc:grpChg>
        <pc:grpChg chg="add del mod">
          <ac:chgData name="Daros, Beatrix" userId="6c58ecbb-1dec-41fc-943c-f687219864f1" providerId="ADAL" clId="{047A04B8-E638-4DD4-B03E-59A1C18DE3C6}" dt="2020-04-01T12:22:58.300" v="2552" actId="478"/>
          <ac:grpSpMkLst>
            <pc:docMk/>
            <pc:sldMk cId="607415959" sldId="4292"/>
            <ac:grpSpMk id="104" creationId="{0DC4420D-DB29-4E4A-9CFC-CF53717CF575}"/>
          </ac:grpSpMkLst>
        </pc:grpChg>
        <pc:grpChg chg="add mod">
          <ac:chgData name="Daros, Beatrix" userId="6c58ecbb-1dec-41fc-943c-f687219864f1" providerId="ADAL" clId="{047A04B8-E638-4DD4-B03E-59A1C18DE3C6}" dt="2020-04-01T12:22:49.656" v="2550" actId="1076"/>
          <ac:grpSpMkLst>
            <pc:docMk/>
            <pc:sldMk cId="607415959" sldId="4292"/>
            <ac:grpSpMk id="107" creationId="{FE58A2C0-20EB-4906-A3C8-56D5365041B4}"/>
          </ac:grpSpMkLst>
        </pc:grpChg>
        <pc:picChg chg="mod">
          <ac:chgData name="Daros, Beatrix" userId="6c58ecbb-1dec-41fc-943c-f687219864f1" providerId="ADAL" clId="{047A04B8-E638-4DD4-B03E-59A1C18DE3C6}" dt="2020-04-01T12:23:38.097" v="2575" actId="164"/>
          <ac:picMkLst>
            <pc:docMk/>
            <pc:sldMk cId="607415959" sldId="4292"/>
            <ac:picMk id="35" creationId="{29791D0A-17C7-4152-978F-34EFE7EDCF5D}"/>
          </ac:picMkLst>
        </pc:picChg>
        <pc:picChg chg="mod">
          <ac:chgData name="Daros, Beatrix" userId="6c58ecbb-1dec-41fc-943c-f687219864f1" providerId="ADAL" clId="{047A04B8-E638-4DD4-B03E-59A1C18DE3C6}" dt="2020-04-01T12:16:40.613" v="2150" actId="164"/>
          <ac:picMkLst>
            <pc:docMk/>
            <pc:sldMk cId="607415959" sldId="4292"/>
            <ac:picMk id="47" creationId="{8259AC41-A5BB-401C-A719-B4BC1D954879}"/>
          </ac:picMkLst>
        </pc:picChg>
        <pc:picChg chg="add mod">
          <ac:chgData name="Daros, Beatrix" userId="6c58ecbb-1dec-41fc-943c-f687219864f1" providerId="ADAL" clId="{047A04B8-E638-4DD4-B03E-59A1C18DE3C6}" dt="2020-04-01T12:16:40.613" v="2150" actId="164"/>
          <ac:picMkLst>
            <pc:docMk/>
            <pc:sldMk cId="607415959" sldId="4292"/>
            <ac:picMk id="53" creationId="{44C09105-078C-408A-A39B-F6B3F290B0D5}"/>
          </ac:picMkLst>
        </pc:picChg>
        <pc:picChg chg="add mod">
          <ac:chgData name="Daros, Beatrix" userId="6c58ecbb-1dec-41fc-943c-f687219864f1" providerId="ADAL" clId="{047A04B8-E638-4DD4-B03E-59A1C18DE3C6}" dt="2020-04-01T12:16:40.613" v="2150" actId="164"/>
          <ac:picMkLst>
            <pc:docMk/>
            <pc:sldMk cId="607415959" sldId="4292"/>
            <ac:picMk id="55" creationId="{38BF7A54-3518-4BE5-8A07-B9407A557CF3}"/>
          </ac:picMkLst>
        </pc:picChg>
        <pc:picChg chg="add mod">
          <ac:chgData name="Daros, Beatrix" userId="6c58ecbb-1dec-41fc-943c-f687219864f1" providerId="ADAL" clId="{047A04B8-E638-4DD4-B03E-59A1C18DE3C6}" dt="2020-04-01T12:16:40.613" v="2150" actId="164"/>
          <ac:picMkLst>
            <pc:docMk/>
            <pc:sldMk cId="607415959" sldId="4292"/>
            <ac:picMk id="60" creationId="{B75C1047-FDDB-4CB9-ADEE-0A6B6ADC550C}"/>
          </ac:picMkLst>
        </pc:picChg>
        <pc:picChg chg="mod">
          <ac:chgData name="Daros, Beatrix" userId="6c58ecbb-1dec-41fc-943c-f687219864f1" providerId="ADAL" clId="{047A04B8-E638-4DD4-B03E-59A1C18DE3C6}" dt="2020-04-01T12:16:40.613" v="2150" actId="164"/>
          <ac:picMkLst>
            <pc:docMk/>
            <pc:sldMk cId="607415959" sldId="4292"/>
            <ac:picMk id="63" creationId="{CBF9E346-F26B-4B82-B800-5A1B7B3EC7DA}"/>
          </ac:picMkLst>
        </pc:picChg>
        <pc:picChg chg="mod">
          <ac:chgData name="Daros, Beatrix" userId="6c58ecbb-1dec-41fc-943c-f687219864f1" providerId="ADAL" clId="{047A04B8-E638-4DD4-B03E-59A1C18DE3C6}" dt="2020-04-01T12:16:40.613" v="2150" actId="164"/>
          <ac:picMkLst>
            <pc:docMk/>
            <pc:sldMk cId="607415959" sldId="4292"/>
            <ac:picMk id="66" creationId="{31A2E4B3-7839-4A06-BABA-C2C7000C6D21}"/>
          </ac:picMkLst>
        </pc:picChg>
        <pc:picChg chg="add mod">
          <ac:chgData name="Daros, Beatrix" userId="6c58ecbb-1dec-41fc-943c-f687219864f1" providerId="ADAL" clId="{047A04B8-E638-4DD4-B03E-59A1C18DE3C6}" dt="2020-04-01T12:23:47.557" v="2581" actId="164"/>
          <ac:picMkLst>
            <pc:docMk/>
            <pc:sldMk cId="607415959" sldId="4292"/>
            <ac:picMk id="69" creationId="{88C1E054-EF9E-425B-AFB6-DFE31F88A581}"/>
          </ac:picMkLst>
        </pc:picChg>
        <pc:picChg chg="add mod">
          <ac:chgData name="Daros, Beatrix" userId="6c58ecbb-1dec-41fc-943c-f687219864f1" providerId="ADAL" clId="{047A04B8-E638-4DD4-B03E-59A1C18DE3C6}" dt="2020-04-01T12:23:26.673" v="2557" actId="164"/>
          <ac:picMkLst>
            <pc:docMk/>
            <pc:sldMk cId="607415959" sldId="4292"/>
            <ac:picMk id="72" creationId="{50B51BB4-C6ED-46BD-9D43-ACAF656784FA}"/>
          </ac:picMkLst>
        </pc:picChg>
        <pc:cxnChg chg="mod">
          <ac:chgData name="Daros, Beatrix" userId="6c58ecbb-1dec-41fc-943c-f687219864f1" providerId="ADAL" clId="{047A04B8-E638-4DD4-B03E-59A1C18DE3C6}" dt="2020-04-01T12:20:42.472" v="2484" actId="1036"/>
          <ac:cxnSpMkLst>
            <pc:docMk/>
            <pc:sldMk cId="607415959" sldId="4292"/>
            <ac:cxnSpMk id="28" creationId="{00000000-0000-0000-0000-000000000000}"/>
          </ac:cxnSpMkLst>
        </pc:cxnChg>
        <pc:cxnChg chg="add mod">
          <ac:chgData name="Daros, Beatrix" userId="6c58ecbb-1dec-41fc-943c-f687219864f1" providerId="ADAL" clId="{047A04B8-E638-4DD4-B03E-59A1C18DE3C6}" dt="2020-04-01T12:20:42.472" v="2484" actId="1036"/>
          <ac:cxnSpMkLst>
            <pc:docMk/>
            <pc:sldMk cId="607415959" sldId="4292"/>
            <ac:cxnSpMk id="56" creationId="{1DF9A963-29ED-419B-8B06-784F75706D5C}"/>
          </ac:cxnSpMkLst>
        </pc:cxnChg>
        <pc:cxnChg chg="add mod">
          <ac:chgData name="Daros, Beatrix" userId="6c58ecbb-1dec-41fc-943c-f687219864f1" providerId="ADAL" clId="{047A04B8-E638-4DD4-B03E-59A1C18DE3C6}" dt="2020-04-01T12:20:42.472" v="2484" actId="1036"/>
          <ac:cxnSpMkLst>
            <pc:docMk/>
            <pc:sldMk cId="607415959" sldId="4292"/>
            <ac:cxnSpMk id="57" creationId="{E9333285-F723-4FF4-8E34-8B5C740169D0}"/>
          </ac:cxnSpMkLst>
        </pc:cxnChg>
        <pc:cxnChg chg="mod">
          <ac:chgData name="Daros, Beatrix" userId="6c58ecbb-1dec-41fc-943c-f687219864f1" providerId="ADAL" clId="{047A04B8-E638-4DD4-B03E-59A1C18DE3C6}" dt="2020-04-01T12:20:42.472" v="2484" actId="1036"/>
          <ac:cxnSpMkLst>
            <pc:docMk/>
            <pc:sldMk cId="607415959" sldId="4292"/>
            <ac:cxnSpMk id="58" creationId="{1B25E523-7110-441B-AB0E-B99A4E8EBD66}"/>
          </ac:cxnSpMkLst>
        </pc:cxnChg>
        <pc:cxnChg chg="add mod">
          <ac:chgData name="Daros, Beatrix" userId="6c58ecbb-1dec-41fc-943c-f687219864f1" providerId="ADAL" clId="{047A04B8-E638-4DD4-B03E-59A1C18DE3C6}" dt="2020-04-01T12:20:42.472" v="2484" actId="1036"/>
          <ac:cxnSpMkLst>
            <pc:docMk/>
            <pc:sldMk cId="607415959" sldId="4292"/>
            <ac:cxnSpMk id="67" creationId="{3AD5B9F6-FEED-4A14-9FC1-5B56B5461431}"/>
          </ac:cxnSpMkLst>
        </pc:cxnChg>
        <pc:cxnChg chg="add mod">
          <ac:chgData name="Daros, Beatrix" userId="6c58ecbb-1dec-41fc-943c-f687219864f1" providerId="ADAL" clId="{047A04B8-E638-4DD4-B03E-59A1C18DE3C6}" dt="2020-04-01T12:24:04.474" v="2611" actId="1076"/>
          <ac:cxnSpMkLst>
            <pc:docMk/>
            <pc:sldMk cId="607415959" sldId="4292"/>
            <ac:cxnSpMk id="110" creationId="{5AC8E530-E6B7-487A-9E05-A471C92CA2DB}"/>
          </ac:cxnSpMkLst>
        </pc:cxnChg>
      </pc:sldChg>
      <pc:sldChg chg="del">
        <pc:chgData name="Daros, Beatrix" userId="6c58ecbb-1dec-41fc-943c-f687219864f1" providerId="ADAL" clId="{047A04B8-E638-4DD4-B03E-59A1C18DE3C6}" dt="2020-04-01T11:58:10.545" v="1016" actId="2696"/>
        <pc:sldMkLst>
          <pc:docMk/>
          <pc:sldMk cId="2338884635" sldId="4292"/>
        </pc:sldMkLst>
      </pc:sldChg>
      <pc:sldChg chg="del">
        <pc:chgData name="Daros, Beatrix" userId="6c58ecbb-1dec-41fc-943c-f687219864f1" providerId="ADAL" clId="{047A04B8-E638-4DD4-B03E-59A1C18DE3C6}" dt="2020-04-01T12:03:38.284" v="1257" actId="2696"/>
        <pc:sldMkLst>
          <pc:docMk/>
          <pc:sldMk cId="1213668976" sldId="4293"/>
        </pc:sldMkLst>
      </pc:sldChg>
      <pc:sldChg chg="addSp delSp modSp add">
        <pc:chgData name="Daros, Beatrix" userId="6c58ecbb-1dec-41fc-943c-f687219864f1" providerId="ADAL" clId="{047A04B8-E638-4DD4-B03E-59A1C18DE3C6}" dt="2020-04-01T16:14:42.179" v="4431" actId="1076"/>
        <pc:sldMkLst>
          <pc:docMk/>
          <pc:sldMk cId="3097193952" sldId="4293"/>
        </pc:sldMkLst>
        <pc:spChg chg="mod">
          <ac:chgData name="Daros, Beatrix" userId="6c58ecbb-1dec-41fc-943c-f687219864f1" providerId="ADAL" clId="{047A04B8-E638-4DD4-B03E-59A1C18DE3C6}" dt="2020-04-01T14:09:42.077" v="3186" actId="164"/>
          <ac:spMkLst>
            <pc:docMk/>
            <pc:sldMk cId="3097193952" sldId="4293"/>
            <ac:spMk id="2" creationId="{EED5B67F-ECCD-4857-8BC3-D9F8B22DB7DF}"/>
          </ac:spMkLst>
        </pc:spChg>
        <pc:spChg chg="add mod">
          <ac:chgData name="Daros, Beatrix" userId="6c58ecbb-1dec-41fc-943c-f687219864f1" providerId="ADAL" clId="{047A04B8-E638-4DD4-B03E-59A1C18DE3C6}" dt="2020-04-01T14:10:28.845" v="3320" actId="14100"/>
          <ac:spMkLst>
            <pc:docMk/>
            <pc:sldMk cId="3097193952" sldId="4293"/>
            <ac:spMk id="7" creationId="{1CF5C6EF-97EF-42A9-BCCD-6C4546E928C3}"/>
          </ac:spMkLst>
        </pc:spChg>
        <pc:spChg chg="add mod">
          <ac:chgData name="Daros, Beatrix" userId="6c58ecbb-1dec-41fc-943c-f687219864f1" providerId="ADAL" clId="{047A04B8-E638-4DD4-B03E-59A1C18DE3C6}" dt="2020-04-01T14:11:25.602" v="3411" actId="20577"/>
          <ac:spMkLst>
            <pc:docMk/>
            <pc:sldMk cId="3097193952" sldId="4293"/>
            <ac:spMk id="8" creationId="{3F79071D-F2DF-49FD-B4B9-BF9D56CF21A8}"/>
          </ac:spMkLst>
        </pc:spChg>
        <pc:spChg chg="mod">
          <ac:chgData name="Daros, Beatrix" userId="6c58ecbb-1dec-41fc-943c-f687219864f1" providerId="ADAL" clId="{047A04B8-E638-4DD4-B03E-59A1C18DE3C6}" dt="2020-04-01T14:11:45.194" v="3418" actId="20577"/>
          <ac:spMkLst>
            <pc:docMk/>
            <pc:sldMk cId="3097193952" sldId="4293"/>
            <ac:spMk id="37" creationId="{36837226-F38B-459B-843B-E8AAC16843C0}"/>
          </ac:spMkLst>
        </pc:spChg>
        <pc:spChg chg="mod">
          <ac:chgData name="Daros, Beatrix" userId="6c58ecbb-1dec-41fc-943c-f687219864f1" providerId="ADAL" clId="{047A04B8-E638-4DD4-B03E-59A1C18DE3C6}" dt="2020-04-01T14:07:11.847" v="3088" actId="1076"/>
          <ac:spMkLst>
            <pc:docMk/>
            <pc:sldMk cId="3097193952" sldId="4293"/>
            <ac:spMk id="65" creationId="{1AD89D2B-C823-41C9-9AA5-43985A1A65CF}"/>
          </ac:spMkLst>
        </pc:spChg>
        <pc:spChg chg="mod">
          <ac:chgData name="Daros, Beatrix" userId="6c58ecbb-1dec-41fc-943c-f687219864f1" providerId="ADAL" clId="{047A04B8-E638-4DD4-B03E-59A1C18DE3C6}" dt="2020-04-01T14:09:42.077" v="3186" actId="164"/>
          <ac:spMkLst>
            <pc:docMk/>
            <pc:sldMk cId="3097193952" sldId="4293"/>
            <ac:spMk id="80" creationId="{491F6163-F219-4738-9D75-18764794EAD8}"/>
          </ac:spMkLst>
        </pc:spChg>
        <pc:spChg chg="mod">
          <ac:chgData name="Daros, Beatrix" userId="6c58ecbb-1dec-41fc-943c-f687219864f1" providerId="ADAL" clId="{047A04B8-E638-4DD4-B03E-59A1C18DE3C6}" dt="2020-04-01T14:09:34" v="3185" actId="164"/>
          <ac:spMkLst>
            <pc:docMk/>
            <pc:sldMk cId="3097193952" sldId="4293"/>
            <ac:spMk id="81" creationId="{3B8297A9-CA64-49C9-9CCE-BAF988B09A2E}"/>
          </ac:spMkLst>
        </pc:spChg>
        <pc:spChg chg="mod">
          <ac:chgData name="Daros, Beatrix" userId="6c58ecbb-1dec-41fc-943c-f687219864f1" providerId="ADAL" clId="{047A04B8-E638-4DD4-B03E-59A1C18DE3C6}" dt="2020-04-01T14:09:34" v="3185" actId="164"/>
          <ac:spMkLst>
            <pc:docMk/>
            <pc:sldMk cId="3097193952" sldId="4293"/>
            <ac:spMk id="91" creationId="{5BFF0AB6-FF3E-4A4A-8F2F-39605E932E36}"/>
          </ac:spMkLst>
        </pc:spChg>
        <pc:spChg chg="add mod">
          <ac:chgData name="Daros, Beatrix" userId="6c58ecbb-1dec-41fc-943c-f687219864f1" providerId="ADAL" clId="{047A04B8-E638-4DD4-B03E-59A1C18DE3C6}" dt="2020-04-01T14:09:34" v="3185" actId="164"/>
          <ac:spMkLst>
            <pc:docMk/>
            <pc:sldMk cId="3097193952" sldId="4293"/>
            <ac:spMk id="92" creationId="{DAC56A04-E339-4255-984F-FF97CAC5ADF7}"/>
          </ac:spMkLst>
        </pc:spChg>
        <pc:spChg chg="add mod">
          <ac:chgData name="Daros, Beatrix" userId="6c58ecbb-1dec-41fc-943c-f687219864f1" providerId="ADAL" clId="{047A04B8-E638-4DD4-B03E-59A1C18DE3C6}" dt="2020-04-01T16:14:24.986" v="4427" actId="20577"/>
          <ac:spMkLst>
            <pc:docMk/>
            <pc:sldMk cId="3097193952" sldId="4293"/>
            <ac:spMk id="93" creationId="{7C81F147-B6DC-4EF3-8CEE-CAE64235E4B4}"/>
          </ac:spMkLst>
        </pc:spChg>
        <pc:spChg chg="add mod">
          <ac:chgData name="Daros, Beatrix" userId="6c58ecbb-1dec-41fc-943c-f687219864f1" providerId="ADAL" clId="{047A04B8-E638-4DD4-B03E-59A1C18DE3C6}" dt="2020-04-01T14:37:15.052" v="4047" actId="1038"/>
          <ac:spMkLst>
            <pc:docMk/>
            <pc:sldMk cId="3097193952" sldId="4293"/>
            <ac:spMk id="103" creationId="{A21FF48D-98F1-4F9B-B454-192A91656BB0}"/>
          </ac:spMkLst>
        </pc:spChg>
        <pc:spChg chg="add del">
          <ac:chgData name="Daros, Beatrix" userId="6c58ecbb-1dec-41fc-943c-f687219864f1" providerId="ADAL" clId="{047A04B8-E638-4DD4-B03E-59A1C18DE3C6}" dt="2020-04-01T16:14:04.869" v="4367" actId="478"/>
          <ac:spMkLst>
            <pc:docMk/>
            <pc:sldMk cId="3097193952" sldId="4293"/>
            <ac:spMk id="104" creationId="{74F1B062-38FA-4BB0-BDE5-AB79CE1B37B9}"/>
          </ac:spMkLst>
        </pc:spChg>
        <pc:spChg chg="add mod">
          <ac:chgData name="Daros, Beatrix" userId="6c58ecbb-1dec-41fc-943c-f687219864f1" providerId="ADAL" clId="{047A04B8-E638-4DD4-B03E-59A1C18DE3C6}" dt="2020-04-01T16:14:35.914" v="4429" actId="1076"/>
          <ac:spMkLst>
            <pc:docMk/>
            <pc:sldMk cId="3097193952" sldId="4293"/>
            <ac:spMk id="105" creationId="{D7011487-678B-49FF-8180-789897DC6F35}"/>
          </ac:spMkLst>
        </pc:spChg>
        <pc:spChg chg="add mod">
          <ac:chgData name="Daros, Beatrix" userId="6c58ecbb-1dec-41fc-943c-f687219864f1" providerId="ADAL" clId="{047A04B8-E638-4DD4-B03E-59A1C18DE3C6}" dt="2020-04-01T16:14:42.179" v="4431" actId="1076"/>
          <ac:spMkLst>
            <pc:docMk/>
            <pc:sldMk cId="3097193952" sldId="4293"/>
            <ac:spMk id="106" creationId="{82E2045C-2EC6-44BA-A1CB-29A62B38E0BA}"/>
          </ac:spMkLst>
        </pc:spChg>
        <pc:grpChg chg="mod">
          <ac:chgData name="Daros, Beatrix" userId="6c58ecbb-1dec-41fc-943c-f687219864f1" providerId="ADAL" clId="{047A04B8-E638-4DD4-B03E-59A1C18DE3C6}" dt="2020-04-01T14:09:42.077" v="3186" actId="164"/>
          <ac:grpSpMkLst>
            <pc:docMk/>
            <pc:sldMk cId="3097193952" sldId="4293"/>
            <ac:grpSpMk id="4" creationId="{FB374C64-5039-4849-A970-BC9953F27D51}"/>
          </ac:grpSpMkLst>
        </pc:grpChg>
        <pc:grpChg chg="mod">
          <ac:chgData name="Daros, Beatrix" userId="6c58ecbb-1dec-41fc-943c-f687219864f1" providerId="ADAL" clId="{047A04B8-E638-4DD4-B03E-59A1C18DE3C6}" dt="2020-04-01T14:09:34" v="3185" actId="164"/>
          <ac:grpSpMkLst>
            <pc:docMk/>
            <pc:sldMk cId="3097193952" sldId="4293"/>
            <ac:grpSpMk id="5" creationId="{5E644ECD-8201-420C-9692-B7E0DAE17793}"/>
          </ac:grpSpMkLst>
        </pc:grpChg>
        <pc:grpChg chg="mod">
          <ac:chgData name="Daros, Beatrix" userId="6c58ecbb-1dec-41fc-943c-f687219864f1" providerId="ADAL" clId="{047A04B8-E638-4DD4-B03E-59A1C18DE3C6}" dt="2020-04-01T14:09:49.417" v="3187" actId="164"/>
          <ac:grpSpMkLst>
            <pc:docMk/>
            <pc:sldMk cId="3097193952" sldId="4293"/>
            <ac:grpSpMk id="6" creationId="{9EC4F071-6004-4619-AAFA-857D4E391C35}"/>
          </ac:grpSpMkLst>
        </pc:grpChg>
        <pc:grpChg chg="add mod">
          <ac:chgData name="Daros, Beatrix" userId="6c58ecbb-1dec-41fc-943c-f687219864f1" providerId="ADAL" clId="{047A04B8-E638-4DD4-B03E-59A1C18DE3C6}" dt="2020-04-01T14:10:17.751" v="3319" actId="1036"/>
          <ac:grpSpMkLst>
            <pc:docMk/>
            <pc:sldMk cId="3097193952" sldId="4293"/>
            <ac:grpSpMk id="9" creationId="{8F36FCAF-DDC1-4ACA-8D67-4ED395E37665}"/>
          </ac:grpSpMkLst>
        </pc:grpChg>
        <pc:grpChg chg="add mod">
          <ac:chgData name="Daros, Beatrix" userId="6c58ecbb-1dec-41fc-943c-f687219864f1" providerId="ADAL" clId="{047A04B8-E638-4DD4-B03E-59A1C18DE3C6}" dt="2020-04-01T14:10:01.254" v="3262" actId="1036"/>
          <ac:grpSpMkLst>
            <pc:docMk/>
            <pc:sldMk cId="3097193952" sldId="4293"/>
            <ac:grpSpMk id="10" creationId="{33864CD8-13BD-4BA5-89AD-95709903CE29}"/>
          </ac:grpSpMkLst>
        </pc:grpChg>
        <pc:grpChg chg="add mod">
          <ac:chgData name="Daros, Beatrix" userId="6c58ecbb-1dec-41fc-943c-f687219864f1" providerId="ADAL" clId="{047A04B8-E638-4DD4-B03E-59A1C18DE3C6}" dt="2020-04-01T14:09:49.417" v="3187" actId="164"/>
          <ac:grpSpMkLst>
            <pc:docMk/>
            <pc:sldMk cId="3097193952" sldId="4293"/>
            <ac:grpSpMk id="11" creationId="{1D56D70D-FDD5-4E4C-8946-3369D297EE28}"/>
          </ac:grpSpMkLst>
        </pc:grpChg>
        <pc:grpChg chg="mod">
          <ac:chgData name="Daros, Beatrix" userId="6c58ecbb-1dec-41fc-943c-f687219864f1" providerId="ADAL" clId="{047A04B8-E638-4DD4-B03E-59A1C18DE3C6}" dt="2020-04-01T14:09:34" v="3185" actId="164"/>
          <ac:grpSpMkLst>
            <pc:docMk/>
            <pc:sldMk cId="3097193952" sldId="4293"/>
            <ac:grpSpMk id="44" creationId="{633DC0BC-47F3-42B6-97C6-FE628D4AED14}"/>
          </ac:grpSpMkLst>
        </pc:grpChg>
        <pc:grpChg chg="mod">
          <ac:chgData name="Daros, Beatrix" userId="6c58ecbb-1dec-41fc-943c-f687219864f1" providerId="ADAL" clId="{047A04B8-E638-4DD4-B03E-59A1C18DE3C6}" dt="2020-04-01T14:09:34" v="3185" actId="164"/>
          <ac:grpSpMkLst>
            <pc:docMk/>
            <pc:sldMk cId="3097193952" sldId="4293"/>
            <ac:grpSpMk id="73" creationId="{7B1CE12C-7770-41B3-9187-66725D576036}"/>
          </ac:grpSpMkLst>
        </pc:grpChg>
        <pc:grpChg chg="mod">
          <ac:chgData name="Daros, Beatrix" userId="6c58ecbb-1dec-41fc-943c-f687219864f1" providerId="ADAL" clId="{047A04B8-E638-4DD4-B03E-59A1C18DE3C6}" dt="2020-04-01T14:09:34" v="3185" actId="164"/>
          <ac:grpSpMkLst>
            <pc:docMk/>
            <pc:sldMk cId="3097193952" sldId="4293"/>
            <ac:grpSpMk id="76" creationId="{74365551-84A5-49EB-A484-1F8E03A6B648}"/>
          </ac:grpSpMkLst>
        </pc:grpChg>
        <pc:grpChg chg="mod">
          <ac:chgData name="Daros, Beatrix" userId="6c58ecbb-1dec-41fc-943c-f687219864f1" providerId="ADAL" clId="{047A04B8-E638-4DD4-B03E-59A1C18DE3C6}" dt="2020-04-01T14:09:42.077" v="3186" actId="164"/>
          <ac:grpSpMkLst>
            <pc:docMk/>
            <pc:sldMk cId="3097193952" sldId="4293"/>
            <ac:grpSpMk id="82" creationId="{BB9C795B-FD73-4325-866C-2EE11811DA60}"/>
          </ac:grpSpMkLst>
        </pc:grpChg>
        <pc:grpChg chg="mod">
          <ac:chgData name="Daros, Beatrix" userId="6c58ecbb-1dec-41fc-943c-f687219864f1" providerId="ADAL" clId="{047A04B8-E638-4DD4-B03E-59A1C18DE3C6}" dt="2020-04-01T14:09:42.077" v="3186" actId="164"/>
          <ac:grpSpMkLst>
            <pc:docMk/>
            <pc:sldMk cId="3097193952" sldId="4293"/>
            <ac:grpSpMk id="85" creationId="{2E4F7BCA-F856-43F6-8197-7DFA7F233650}"/>
          </ac:grpSpMkLst>
        </pc:grpChg>
        <pc:grpChg chg="mod">
          <ac:chgData name="Daros, Beatrix" userId="6c58ecbb-1dec-41fc-943c-f687219864f1" providerId="ADAL" clId="{047A04B8-E638-4DD4-B03E-59A1C18DE3C6}" dt="2020-04-01T14:09:42.077" v="3186" actId="164"/>
          <ac:grpSpMkLst>
            <pc:docMk/>
            <pc:sldMk cId="3097193952" sldId="4293"/>
            <ac:grpSpMk id="88" creationId="{BB960C54-71FC-4779-9995-C112BBFB1FFA}"/>
          </ac:grpSpMkLst>
        </pc:grpChg>
        <pc:grpChg chg="mod">
          <ac:chgData name="Daros, Beatrix" userId="6c58ecbb-1dec-41fc-943c-f687219864f1" providerId="ADAL" clId="{047A04B8-E638-4DD4-B03E-59A1C18DE3C6}" dt="2020-04-01T14:09:49.417" v="3187" actId="164"/>
          <ac:grpSpMkLst>
            <pc:docMk/>
            <pc:sldMk cId="3097193952" sldId="4293"/>
            <ac:grpSpMk id="94" creationId="{1077AD14-9082-4C72-A201-50322D28C347}"/>
          </ac:grpSpMkLst>
        </pc:grpChg>
        <pc:grpChg chg="mod">
          <ac:chgData name="Daros, Beatrix" userId="6c58ecbb-1dec-41fc-943c-f687219864f1" providerId="ADAL" clId="{047A04B8-E638-4DD4-B03E-59A1C18DE3C6}" dt="2020-04-01T14:09:49.417" v="3187" actId="164"/>
          <ac:grpSpMkLst>
            <pc:docMk/>
            <pc:sldMk cId="3097193952" sldId="4293"/>
            <ac:grpSpMk id="97" creationId="{C8C215C5-E3D6-479B-BBF7-5A6D4758FE2C}"/>
          </ac:grpSpMkLst>
        </pc:grpChg>
        <pc:grpChg chg="mod">
          <ac:chgData name="Daros, Beatrix" userId="6c58ecbb-1dec-41fc-943c-f687219864f1" providerId="ADAL" clId="{047A04B8-E638-4DD4-B03E-59A1C18DE3C6}" dt="2020-04-01T14:09:49.417" v="3187" actId="164"/>
          <ac:grpSpMkLst>
            <pc:docMk/>
            <pc:sldMk cId="3097193952" sldId="4293"/>
            <ac:grpSpMk id="100" creationId="{BEFDD28E-52B3-4514-BC4A-EB61310B56D1}"/>
          </ac:grpSpMkLst>
        </pc:grpChg>
        <pc:grpChg chg="mod">
          <ac:chgData name="Daros, Beatrix" userId="6c58ecbb-1dec-41fc-943c-f687219864f1" providerId="ADAL" clId="{047A04B8-E638-4DD4-B03E-59A1C18DE3C6}" dt="2020-04-01T14:09:49.417" v="3187" actId="164"/>
          <ac:grpSpMkLst>
            <pc:docMk/>
            <pc:sldMk cId="3097193952" sldId="4293"/>
            <ac:grpSpMk id="107" creationId="{FE58A2C0-20EB-4906-A3C8-56D5365041B4}"/>
          </ac:grpSpMkLst>
        </pc:grpChg>
      </pc:sldChg>
      <pc:sldChg chg="del">
        <pc:chgData name="Daros, Beatrix" userId="6c58ecbb-1dec-41fc-943c-f687219864f1" providerId="ADAL" clId="{047A04B8-E638-4DD4-B03E-59A1C18DE3C6}" dt="2020-04-01T11:43:21.899" v="475" actId="2696"/>
        <pc:sldMkLst>
          <pc:docMk/>
          <pc:sldMk cId="807002336" sldId="4294"/>
        </pc:sldMkLst>
      </pc:sldChg>
      <pc:sldChg chg="del">
        <pc:chgData name="Daros, Beatrix" userId="6c58ecbb-1dec-41fc-943c-f687219864f1" providerId="ADAL" clId="{047A04B8-E638-4DD4-B03E-59A1C18DE3C6}" dt="2020-04-01T12:03:24.088" v="1255" actId="2696"/>
        <pc:sldMkLst>
          <pc:docMk/>
          <pc:sldMk cId="507243146" sldId="4295"/>
        </pc:sldMkLst>
      </pc:sldChg>
      <pc:sldChg chg="add del">
        <pc:chgData name="Daros, Beatrix" userId="6c58ecbb-1dec-41fc-943c-f687219864f1" providerId="ADAL" clId="{047A04B8-E638-4DD4-B03E-59A1C18DE3C6}" dt="2020-04-01T12:03:35.323" v="1256" actId="2696"/>
        <pc:sldMkLst>
          <pc:docMk/>
          <pc:sldMk cId="2696791844" sldId="4296"/>
        </pc:sldMkLst>
      </pc:sldChg>
      <pc:sldChg chg="modSp add del">
        <pc:chgData name="Daros, Beatrix" userId="6c58ecbb-1dec-41fc-943c-f687219864f1" providerId="ADAL" clId="{047A04B8-E638-4DD4-B03E-59A1C18DE3C6}" dt="2020-04-01T11:35:57.987" v="275" actId="2696"/>
        <pc:sldMkLst>
          <pc:docMk/>
          <pc:sldMk cId="82929018" sldId="4297"/>
        </pc:sldMkLst>
        <pc:spChg chg="mod">
          <ac:chgData name="Daros, Beatrix" userId="6c58ecbb-1dec-41fc-943c-f687219864f1" providerId="ADAL" clId="{047A04B8-E638-4DD4-B03E-59A1C18DE3C6}" dt="2020-04-01T11:30:42.235" v="109" actId="20577"/>
          <ac:spMkLst>
            <pc:docMk/>
            <pc:sldMk cId="82929018" sldId="4297"/>
            <ac:spMk id="2" creationId="{B3FD3762-CB4A-4F7A-ABD6-85133B0BCB6C}"/>
          </ac:spMkLst>
        </pc:spChg>
        <pc:spChg chg="mod">
          <ac:chgData name="Daros, Beatrix" userId="6c58ecbb-1dec-41fc-943c-f687219864f1" providerId="ADAL" clId="{047A04B8-E638-4DD4-B03E-59A1C18DE3C6}" dt="2020-04-01T11:33:54.298" v="210" actId="207"/>
          <ac:spMkLst>
            <pc:docMk/>
            <pc:sldMk cId="82929018" sldId="4297"/>
            <ac:spMk id="3" creationId="{373C220C-7D8B-4BEC-A5B1-7459F6EB44EC}"/>
          </ac:spMkLst>
        </pc:spChg>
      </pc:sldChg>
      <pc:sldChg chg="add del">
        <pc:chgData name="Daros, Beatrix" userId="6c58ecbb-1dec-41fc-943c-f687219864f1" providerId="ADAL" clId="{047A04B8-E638-4DD4-B03E-59A1C18DE3C6}" dt="2020-04-01T11:30:34.165" v="96"/>
        <pc:sldMkLst>
          <pc:docMk/>
          <pc:sldMk cId="2886157793" sldId="4297"/>
        </pc:sldMkLst>
      </pc:sldChg>
      <pc:sldMasterChg chg="delSldLayout">
        <pc:chgData name="Daros, Beatrix" userId="6c58ecbb-1dec-41fc-943c-f687219864f1" providerId="ADAL" clId="{047A04B8-E638-4DD4-B03E-59A1C18DE3C6}" dt="2020-04-01T11:28:18.488" v="16" actId="2696"/>
        <pc:sldMasterMkLst>
          <pc:docMk/>
          <pc:sldMasterMk cId="1978254006" sldId="2147483725"/>
        </pc:sldMasterMkLst>
        <pc:sldLayoutChg chg="del">
          <pc:chgData name="Daros, Beatrix" userId="6c58ecbb-1dec-41fc-943c-f687219864f1" providerId="ADAL" clId="{047A04B8-E638-4DD4-B03E-59A1C18DE3C6}" dt="2020-04-01T11:28:18.488" v="16" actId="2696"/>
          <pc:sldLayoutMkLst>
            <pc:docMk/>
            <pc:sldMasterMk cId="1978254006" sldId="2147483725"/>
            <pc:sldLayoutMk cId="3415639540" sldId="2147483747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EF16D48-E0EA-4855-8AD6-928DDE0E2345}" type="doc">
      <dgm:prSet loTypeId="urn:microsoft.com/office/officeart/2005/8/layout/chevron1" loCatId="process" qsTypeId="urn:microsoft.com/office/officeart/2005/8/quickstyle/simple1" qsCatId="simple" csTypeId="urn:microsoft.com/office/officeart/2005/8/colors/colorful3" csCatId="colorful" phldr="1"/>
      <dgm:spPr/>
    </dgm:pt>
    <dgm:pt modelId="{A19F26B0-F087-4137-A5C5-A1FC799BEAA5}">
      <dgm:prSet phldrT="[Text]" custT="1"/>
      <dgm:spPr>
        <a:solidFill>
          <a:schemeClr val="tx1">
            <a:lumMod val="75000"/>
            <a:lumOff val="25000"/>
          </a:schemeClr>
        </a:solidFill>
        <a:ln>
          <a:noFill/>
        </a:ln>
      </dgm:spPr>
      <dgm:t>
        <a:bodyPr/>
        <a:lstStyle/>
        <a:p>
          <a:r>
            <a:rPr lang="en-US" sz="2000"/>
            <a:t>                   Phase 1</a:t>
          </a:r>
        </a:p>
      </dgm:t>
    </dgm:pt>
    <dgm:pt modelId="{67DE7E4E-8CA3-4F45-B861-35D13DC0EB39}" type="parTrans" cxnId="{B5998859-1C30-4C9E-AB2D-6D75AF5B26AD}">
      <dgm:prSet/>
      <dgm:spPr/>
      <dgm:t>
        <a:bodyPr/>
        <a:lstStyle/>
        <a:p>
          <a:endParaRPr lang="en-US"/>
        </a:p>
      </dgm:t>
    </dgm:pt>
    <dgm:pt modelId="{1456B976-9CF7-40CD-8672-7E25D4EC4E5B}" type="sibTrans" cxnId="{B5998859-1C30-4C9E-AB2D-6D75AF5B26AD}">
      <dgm:prSet/>
      <dgm:spPr/>
      <dgm:t>
        <a:bodyPr/>
        <a:lstStyle/>
        <a:p>
          <a:endParaRPr lang="en-US"/>
        </a:p>
      </dgm:t>
    </dgm:pt>
    <dgm:pt modelId="{94FBFBA1-F2AE-4B22-854A-F85C46BA8B32}">
      <dgm:prSet phldrT="[Text]" custT="1"/>
      <dgm:spPr>
        <a:ln>
          <a:noFill/>
        </a:ln>
      </dgm:spPr>
      <dgm:t>
        <a:bodyPr/>
        <a:lstStyle/>
        <a:p>
          <a:r>
            <a:rPr lang="en-US" sz="2000"/>
            <a:t>                          Phase 2</a:t>
          </a:r>
        </a:p>
      </dgm:t>
    </dgm:pt>
    <dgm:pt modelId="{28AAAA2F-4138-4DDA-BAEC-253A9F74E0C2}" type="parTrans" cxnId="{414BC611-6729-4E03-8FBA-370B0132B078}">
      <dgm:prSet/>
      <dgm:spPr/>
      <dgm:t>
        <a:bodyPr/>
        <a:lstStyle/>
        <a:p>
          <a:endParaRPr lang="en-US"/>
        </a:p>
      </dgm:t>
    </dgm:pt>
    <dgm:pt modelId="{6B0F4469-C2C7-42A3-911A-9C8CA69298B5}" type="sibTrans" cxnId="{414BC611-6729-4E03-8FBA-370B0132B078}">
      <dgm:prSet/>
      <dgm:spPr/>
      <dgm:t>
        <a:bodyPr/>
        <a:lstStyle/>
        <a:p>
          <a:endParaRPr lang="en-US"/>
        </a:p>
      </dgm:t>
    </dgm:pt>
    <dgm:pt modelId="{B89A65DD-0028-4B29-B7CA-7FF6E94CB7A1}">
      <dgm:prSet phldrT="[Text]" custT="1"/>
      <dgm:spPr>
        <a:ln>
          <a:noFill/>
        </a:ln>
      </dgm:spPr>
      <dgm:t>
        <a:bodyPr/>
        <a:lstStyle/>
        <a:p>
          <a:r>
            <a:rPr lang="en-US" sz="1200"/>
            <a:t>                                             </a:t>
          </a:r>
          <a:r>
            <a:rPr lang="en-US" sz="2000"/>
            <a:t>Phase 3</a:t>
          </a:r>
          <a:endParaRPr lang="en-US" sz="1200"/>
        </a:p>
      </dgm:t>
    </dgm:pt>
    <dgm:pt modelId="{0FDA10B2-6A34-467F-92D2-BF7454EFEE92}" type="parTrans" cxnId="{1D192D4C-9308-46F7-82CA-8DBB4EE4828F}">
      <dgm:prSet/>
      <dgm:spPr/>
      <dgm:t>
        <a:bodyPr/>
        <a:lstStyle/>
        <a:p>
          <a:endParaRPr lang="en-US"/>
        </a:p>
      </dgm:t>
    </dgm:pt>
    <dgm:pt modelId="{8A37E1D5-0832-4D81-8042-C595D7A5B61B}" type="sibTrans" cxnId="{1D192D4C-9308-46F7-82CA-8DBB4EE4828F}">
      <dgm:prSet/>
      <dgm:spPr/>
      <dgm:t>
        <a:bodyPr/>
        <a:lstStyle/>
        <a:p>
          <a:endParaRPr lang="en-US"/>
        </a:p>
      </dgm:t>
    </dgm:pt>
    <dgm:pt modelId="{0679E171-FE1A-4118-90DA-006BE5802112}" type="pres">
      <dgm:prSet presAssocID="{CEF16D48-E0EA-4855-8AD6-928DDE0E2345}" presName="Name0" presStyleCnt="0">
        <dgm:presLayoutVars>
          <dgm:dir/>
          <dgm:animLvl val="lvl"/>
          <dgm:resizeHandles val="exact"/>
        </dgm:presLayoutVars>
      </dgm:prSet>
      <dgm:spPr/>
    </dgm:pt>
    <dgm:pt modelId="{102E2013-F1C3-4ED0-B1A7-3B75AADC8491}" type="pres">
      <dgm:prSet presAssocID="{A19F26B0-F087-4137-A5C5-A1FC799BEAA5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B1937908-D8E0-4422-9A5E-D239D30A10A9}" type="pres">
      <dgm:prSet presAssocID="{1456B976-9CF7-40CD-8672-7E25D4EC4E5B}" presName="parTxOnlySpace" presStyleCnt="0"/>
      <dgm:spPr/>
    </dgm:pt>
    <dgm:pt modelId="{B06D45CF-6F35-4ADD-99FD-8862115F876C}" type="pres">
      <dgm:prSet presAssocID="{94FBFBA1-F2AE-4B22-854A-F85C46BA8B32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9405E935-DE60-408B-AED1-0FBAF8D75384}" type="pres">
      <dgm:prSet presAssocID="{6B0F4469-C2C7-42A3-911A-9C8CA69298B5}" presName="parTxOnlySpace" presStyleCnt="0"/>
      <dgm:spPr/>
    </dgm:pt>
    <dgm:pt modelId="{3D0DC791-D2BD-4839-8AFF-55A013F35A1A}" type="pres">
      <dgm:prSet presAssocID="{B89A65DD-0028-4B29-B7CA-7FF6E94CB7A1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414BC611-6729-4E03-8FBA-370B0132B078}" srcId="{CEF16D48-E0EA-4855-8AD6-928DDE0E2345}" destId="{94FBFBA1-F2AE-4B22-854A-F85C46BA8B32}" srcOrd="1" destOrd="0" parTransId="{28AAAA2F-4138-4DDA-BAEC-253A9F74E0C2}" sibTransId="{6B0F4469-C2C7-42A3-911A-9C8CA69298B5}"/>
    <dgm:cxn modelId="{1D192D4C-9308-46F7-82CA-8DBB4EE4828F}" srcId="{CEF16D48-E0EA-4855-8AD6-928DDE0E2345}" destId="{B89A65DD-0028-4B29-B7CA-7FF6E94CB7A1}" srcOrd="2" destOrd="0" parTransId="{0FDA10B2-6A34-467F-92D2-BF7454EFEE92}" sibTransId="{8A37E1D5-0832-4D81-8042-C595D7A5B61B}"/>
    <dgm:cxn modelId="{1E7D5A55-EFA7-4047-A03B-139C382A3F55}" type="presOf" srcId="{B89A65DD-0028-4B29-B7CA-7FF6E94CB7A1}" destId="{3D0DC791-D2BD-4839-8AFF-55A013F35A1A}" srcOrd="0" destOrd="0" presId="urn:microsoft.com/office/officeart/2005/8/layout/chevron1"/>
    <dgm:cxn modelId="{B5998859-1C30-4C9E-AB2D-6D75AF5B26AD}" srcId="{CEF16D48-E0EA-4855-8AD6-928DDE0E2345}" destId="{A19F26B0-F087-4137-A5C5-A1FC799BEAA5}" srcOrd="0" destOrd="0" parTransId="{67DE7E4E-8CA3-4F45-B861-35D13DC0EB39}" sibTransId="{1456B976-9CF7-40CD-8672-7E25D4EC4E5B}"/>
    <dgm:cxn modelId="{8639DBD0-C35F-4172-A3C0-33FD4A31836B}" type="presOf" srcId="{CEF16D48-E0EA-4855-8AD6-928DDE0E2345}" destId="{0679E171-FE1A-4118-90DA-006BE5802112}" srcOrd="0" destOrd="0" presId="urn:microsoft.com/office/officeart/2005/8/layout/chevron1"/>
    <dgm:cxn modelId="{31D930D7-E470-424B-B538-25804EEF9A50}" type="presOf" srcId="{94FBFBA1-F2AE-4B22-854A-F85C46BA8B32}" destId="{B06D45CF-6F35-4ADD-99FD-8862115F876C}" srcOrd="0" destOrd="0" presId="urn:microsoft.com/office/officeart/2005/8/layout/chevron1"/>
    <dgm:cxn modelId="{35FCE7FB-D246-4EC7-9A05-75CB99F2130C}" type="presOf" srcId="{A19F26B0-F087-4137-A5C5-A1FC799BEAA5}" destId="{102E2013-F1C3-4ED0-B1A7-3B75AADC8491}" srcOrd="0" destOrd="0" presId="urn:microsoft.com/office/officeart/2005/8/layout/chevron1"/>
    <dgm:cxn modelId="{EC5BACC7-42E3-4ECF-B018-88C5713D1075}" type="presParOf" srcId="{0679E171-FE1A-4118-90DA-006BE5802112}" destId="{102E2013-F1C3-4ED0-B1A7-3B75AADC8491}" srcOrd="0" destOrd="0" presId="urn:microsoft.com/office/officeart/2005/8/layout/chevron1"/>
    <dgm:cxn modelId="{B08BF754-9D28-4DA3-94EE-D24010716708}" type="presParOf" srcId="{0679E171-FE1A-4118-90DA-006BE5802112}" destId="{B1937908-D8E0-4422-9A5E-D239D30A10A9}" srcOrd="1" destOrd="0" presId="urn:microsoft.com/office/officeart/2005/8/layout/chevron1"/>
    <dgm:cxn modelId="{26F7F215-9051-4F37-85DB-108833A775F4}" type="presParOf" srcId="{0679E171-FE1A-4118-90DA-006BE5802112}" destId="{B06D45CF-6F35-4ADD-99FD-8862115F876C}" srcOrd="2" destOrd="0" presId="urn:microsoft.com/office/officeart/2005/8/layout/chevron1"/>
    <dgm:cxn modelId="{805411C7-A457-46F5-88A2-1B189EB61957}" type="presParOf" srcId="{0679E171-FE1A-4118-90DA-006BE5802112}" destId="{9405E935-DE60-408B-AED1-0FBAF8D75384}" srcOrd="3" destOrd="0" presId="urn:microsoft.com/office/officeart/2005/8/layout/chevron1"/>
    <dgm:cxn modelId="{6E8D18D7-16DC-4808-BFF4-BF53D1883D75}" type="presParOf" srcId="{0679E171-FE1A-4118-90DA-006BE5802112}" destId="{3D0DC791-D2BD-4839-8AFF-55A013F35A1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2E2013-F1C3-4ED0-B1A7-3B75AADC8491}">
      <dsp:nvSpPr>
        <dsp:cNvPr id="0" name=""/>
        <dsp:cNvSpPr/>
      </dsp:nvSpPr>
      <dsp:spPr>
        <a:xfrm>
          <a:off x="3326" y="1936261"/>
          <a:ext cx="4052189" cy="1620875"/>
        </a:xfrm>
        <a:prstGeom prst="chevron">
          <a:avLst/>
        </a:prstGeom>
        <a:solidFill>
          <a:schemeClr val="tx1">
            <a:lumMod val="75000"/>
            <a:lumOff val="2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                   Phase 1</a:t>
          </a:r>
        </a:p>
      </dsp:txBody>
      <dsp:txXfrm>
        <a:off x="813764" y="1936261"/>
        <a:ext cx="2431314" cy="1620875"/>
      </dsp:txXfrm>
    </dsp:sp>
    <dsp:sp modelId="{B06D45CF-6F35-4ADD-99FD-8862115F876C}">
      <dsp:nvSpPr>
        <dsp:cNvPr id="0" name=""/>
        <dsp:cNvSpPr/>
      </dsp:nvSpPr>
      <dsp:spPr>
        <a:xfrm>
          <a:off x="3650296" y="1936261"/>
          <a:ext cx="4052189" cy="1620875"/>
        </a:xfrm>
        <a:prstGeom prst="chevron">
          <a:avLst/>
        </a:prstGeom>
        <a:solidFill>
          <a:schemeClr val="accent3">
            <a:hueOff val="1355300"/>
            <a:satOff val="50000"/>
            <a:lumOff val="-7353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                          Phase 2</a:t>
          </a:r>
        </a:p>
      </dsp:txBody>
      <dsp:txXfrm>
        <a:off x="4460734" y="1936261"/>
        <a:ext cx="2431314" cy="1620875"/>
      </dsp:txXfrm>
    </dsp:sp>
    <dsp:sp modelId="{3D0DC791-D2BD-4839-8AFF-55A013F35A1A}">
      <dsp:nvSpPr>
        <dsp:cNvPr id="0" name=""/>
        <dsp:cNvSpPr/>
      </dsp:nvSpPr>
      <dsp:spPr>
        <a:xfrm>
          <a:off x="7297267" y="1936261"/>
          <a:ext cx="4052189" cy="1620875"/>
        </a:xfrm>
        <a:prstGeom prst="chevron">
          <a:avLst/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                                             </a:t>
          </a:r>
          <a:r>
            <a:rPr lang="en-US" sz="2000" kern="1200"/>
            <a:t>Phase 3</a:t>
          </a:r>
          <a:endParaRPr lang="en-US" sz="1200" kern="1200"/>
        </a:p>
      </dsp:txBody>
      <dsp:txXfrm>
        <a:off x="8107705" y="1936261"/>
        <a:ext cx="2431314" cy="16208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3FD8B8-3BB3-C54A-B2CA-F1C42E4E5299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067EE6-DE7F-E944-A788-01650A508A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063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067EE6-DE7F-E944-A788-01650A508A7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63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84FC18-5160-4670-8CCA-F534DE9C83CA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77306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84FC18-5160-4670-8CCA-F534DE9C83CA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8235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84FC18-5160-4670-8CCA-F534DE9C83CA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20485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84FC18-5160-4670-8CCA-F534DE9C83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9465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- Title Slides -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E15409F-5B6A-BA47-A5BD-BE9A128AE7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6569" y="1909829"/>
            <a:ext cx="4858871" cy="19808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3898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342046E-9EC6-6541-82E0-C191510840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7437" y="4042616"/>
            <a:ext cx="8857131" cy="15065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80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24423097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 - Colour Slides -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E348B00-85DE-FB45-993D-907152D11A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9063" y="1174750"/>
            <a:ext cx="9386887" cy="47958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2000" b="1" i="0" smtClean="0">
                <a:effectLst/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Cras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05468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A34997FE-D8BF-9D48-AA88-4F63AEA06E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9063" y="1174750"/>
            <a:ext cx="9386887" cy="47958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2000" b="1" i="0" smtClean="0">
                <a:solidFill>
                  <a:schemeClr val="bg1"/>
                </a:solidFill>
                <a:effectLst/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Cras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750941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 - Colour Slides -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EE1DB38-CFB4-F74B-A689-E425E37E45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9063" y="1174750"/>
            <a:ext cx="9386887" cy="47958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2000" b="1" i="0" smtClean="0">
                <a:effectLst/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Cras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901951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0D029DBC-B0B5-0F41-BAD0-05A80AA98B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9063" y="1174750"/>
            <a:ext cx="9386887" cy="47958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2000" b="1" i="0" smtClean="0">
                <a:solidFill>
                  <a:schemeClr val="bg1"/>
                </a:solidFill>
                <a:effectLst/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Cras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583878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 - 2 Colour Blocks -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2CDD5D9-CCF3-C24F-9D57-8721E2953E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7554" y="3429000"/>
            <a:ext cx="5307106" cy="26446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400" b="0" i="0" smtClean="0">
                <a:effectLst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54F834C-347F-B542-8467-F7061848BE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90448" y="3429000"/>
            <a:ext cx="5307106" cy="26446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400" b="0" i="0" smtClean="0">
                <a:effectLst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5A7C444-0809-6D40-B66A-CCE54F096C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8300" y="528638"/>
            <a:ext cx="8497888" cy="18113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mai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687016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 - 2 Colour Blocks 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2703D18-6BE0-2142-9999-6FB69249DE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7554" y="3429000"/>
            <a:ext cx="5307106" cy="26446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400" b="0" i="0" smtClean="0">
                <a:effectLst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C23455C-D0C4-0F48-8871-6413B891B8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8300" y="528638"/>
            <a:ext cx="8497888" cy="18113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main title goes he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047AF2B-281D-7F4E-AA78-8C21C38B28F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2809702"/>
            <a:ext cx="6096000" cy="404829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5198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 - 2 Colour Blocks - with text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D8CA800-2AC9-8A4F-A745-8BD401B2E1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6400" y="0"/>
            <a:ext cx="1325820" cy="858982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F737FE1-B4B8-1245-B11A-8E7FA83A4E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7554" y="3429000"/>
            <a:ext cx="5307106" cy="26446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400" b="0" i="0" smtClean="0">
                <a:effectLst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0E0D809C-0626-6B4B-B72D-C3C861DC79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90448" y="3429000"/>
            <a:ext cx="5307106" cy="26446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400" b="0" i="0" smtClean="0">
                <a:effectLst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0F74BD6-0793-6741-8CD7-94643658BD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8300" y="1159933"/>
            <a:ext cx="8497888" cy="118004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mai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007202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 - 2 Colour Blocks - with imag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F10124B-E7CF-5C4B-97FB-52753CECB8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6400" y="0"/>
            <a:ext cx="1325820" cy="858982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317D315-5B13-A841-8962-38EA2482BD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7554" y="3429000"/>
            <a:ext cx="5307106" cy="264468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400" b="0" i="0" smtClean="0">
                <a:effectLst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0D5130C4-19AB-4149-97FA-39AF19ADFD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8300" y="1100667"/>
            <a:ext cx="8497888" cy="123930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main title goes he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6E3DA12-35EC-2D43-813D-0DD7EA0D461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2809702"/>
            <a:ext cx="6096000" cy="404829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4092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 - 3 Colour Blocks -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618843E-43AC-C748-A805-C4F4A794D8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7554" y="3119718"/>
            <a:ext cx="3263152" cy="338875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400" b="0" i="0" smtClean="0">
                <a:effectLst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C7DAAD1A-F3EA-9E4E-94A7-A2B0D8CEF6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46495" y="3119718"/>
            <a:ext cx="3263152" cy="338875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400" b="0" i="0" smtClean="0">
                <a:effectLst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11D2DA22-5A3C-2E4C-A100-42867FE891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61295" y="3119718"/>
            <a:ext cx="3263152" cy="338875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1400" b="0" i="0" smtClean="0">
                <a:effectLst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</a:t>
            </a:r>
            <a:r>
              <a:rPr lang="en-US" err="1"/>
              <a:t>cra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BB8ADA-0DD8-9C49-8D81-6877A042F5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8300" y="528638"/>
            <a:ext cx="8497888" cy="18113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mai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6655049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hart Placeholder 15">
            <a:extLst>
              <a:ext uri="{FF2B5EF4-FFF2-40B4-BE49-F238E27FC236}">
                <a16:creationId xmlns:a16="http://schemas.microsoft.com/office/drawing/2014/main" id="{3DA3BCD4-24A3-1448-9E95-AAFDD82E594D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5854705" y="379413"/>
            <a:ext cx="5961063" cy="60563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818176E8-B901-3E43-9210-B6FD88EE2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167" y="904585"/>
            <a:ext cx="4914900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7631515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 - Title Slides - No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9EA3EEF-78A3-6640-97DF-C438AF8C00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7435" y="1586753"/>
            <a:ext cx="8857130" cy="368449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80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Brand Story</a:t>
            </a:r>
          </a:p>
        </p:txBody>
      </p:sp>
    </p:spTree>
    <p:extLst>
      <p:ext uri="{BB962C8B-B14F-4D97-AF65-F5344CB8AC3E}">
        <p14:creationId xmlns:p14="http://schemas.microsoft.com/office/powerpoint/2010/main" val="25758252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0B7127C-1C7B-8F46-954A-E0E010FBCECD}"/>
              </a:ext>
            </a:extLst>
          </p:cNvPr>
          <p:cNvSpPr/>
          <p:nvPr userDrawn="1"/>
        </p:nvSpPr>
        <p:spPr>
          <a:xfrm>
            <a:off x="5854703" y="0"/>
            <a:ext cx="63373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Chart Placeholder 15">
            <a:extLst>
              <a:ext uri="{FF2B5EF4-FFF2-40B4-BE49-F238E27FC236}">
                <a16:creationId xmlns:a16="http://schemas.microsoft.com/office/drawing/2014/main" id="{9A144431-3ED8-454E-B928-395279F6D140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27185" y="388122"/>
            <a:ext cx="5588583" cy="60563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178F355-544A-284F-8315-93ED58F151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167" y="904585"/>
            <a:ext cx="4914900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5793400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30A666E-F760-514D-9ED0-3DA85A096ED5}"/>
              </a:ext>
            </a:extLst>
          </p:cNvPr>
          <p:cNvSpPr/>
          <p:nvPr userDrawn="1"/>
        </p:nvSpPr>
        <p:spPr>
          <a:xfrm>
            <a:off x="5854703" y="0"/>
            <a:ext cx="63373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847E65-DA59-C541-8E96-DD7AB27E99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6029" y="498475"/>
            <a:ext cx="5591175" cy="594862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 i="0"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images to go in this space</a:t>
            </a:r>
          </a:p>
        </p:txBody>
      </p:sp>
    </p:spTree>
    <p:extLst>
      <p:ext uri="{BB962C8B-B14F-4D97-AF65-F5344CB8AC3E}">
        <p14:creationId xmlns:p14="http://schemas.microsoft.com/office/powerpoint/2010/main" val="29578529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26239C38-AE74-7A43-BE08-F82CC3257A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187" y="0"/>
            <a:ext cx="3932237" cy="968709"/>
          </a:xfrm>
          <a:prstGeom prst="rect">
            <a:avLst/>
          </a:prstGeom>
        </p:spPr>
        <p:txBody>
          <a:bodyPr anchor="b"/>
          <a:lstStyle>
            <a:lvl1pPr>
              <a:defRPr sz="32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/>
              <a:t>title page w/graph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EC2892A-01EC-0747-8713-D6A8FD8C71D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968709"/>
            <a:ext cx="0" cy="5012266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009E32E-F013-FA4F-B985-9CF217245505}"/>
              </a:ext>
            </a:extLst>
          </p:cNvPr>
          <p:cNvCxnSpPr>
            <a:cxnSpLocks/>
          </p:cNvCxnSpPr>
          <p:nvPr userDrawn="1"/>
        </p:nvCxnSpPr>
        <p:spPr>
          <a:xfrm>
            <a:off x="738187" y="3651955"/>
            <a:ext cx="10641016" cy="1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92418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0CF5A85-FCA5-1D4E-A5A8-A773C8FC1A00}"/>
              </a:ext>
            </a:extLst>
          </p:cNvPr>
          <p:cNvSpPr/>
          <p:nvPr userDrawn="1"/>
        </p:nvSpPr>
        <p:spPr>
          <a:xfrm>
            <a:off x="5854703" y="0"/>
            <a:ext cx="63373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2F11F17-7097-BF41-9B09-85B0EA7AB897}"/>
              </a:ext>
            </a:extLst>
          </p:cNvPr>
          <p:cNvSpPr txBox="1">
            <a:spLocks/>
          </p:cNvSpPr>
          <p:nvPr userDrawn="1"/>
        </p:nvSpPr>
        <p:spPr>
          <a:xfrm>
            <a:off x="6283319" y="6356356"/>
            <a:ext cx="56964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ntinel Light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</a:rPr>
              <a:t>*Source: Lorem ipsum dolor et dolo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A8D5CD-59B0-064D-BBF6-C94B49F70622}"/>
              </a:ext>
            </a:extLst>
          </p:cNvPr>
          <p:cNvSpPr/>
          <p:nvPr userDrawn="1"/>
        </p:nvSpPr>
        <p:spPr>
          <a:xfrm>
            <a:off x="6548560" y="4420155"/>
            <a:ext cx="1481192" cy="1628154"/>
          </a:xfrm>
          <a:prstGeom prst="rect">
            <a:avLst/>
          </a:prstGeom>
          <a:noFill/>
          <a:ln w="63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0114996-ED84-DE4F-9642-2193B1F06FA1}"/>
              </a:ext>
            </a:extLst>
          </p:cNvPr>
          <p:cNvCxnSpPr/>
          <p:nvPr userDrawn="1"/>
        </p:nvCxnSpPr>
        <p:spPr>
          <a:xfrm>
            <a:off x="6548564" y="4420155"/>
            <a:ext cx="148119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60B9D7A4-AC91-9D40-8DB0-FB5AFCBAA85D}"/>
              </a:ext>
            </a:extLst>
          </p:cNvPr>
          <p:cNvSpPr/>
          <p:nvPr userDrawn="1"/>
        </p:nvSpPr>
        <p:spPr>
          <a:xfrm>
            <a:off x="8352025" y="1721559"/>
            <a:ext cx="1481192" cy="4326749"/>
          </a:xfrm>
          <a:prstGeom prst="rect">
            <a:avLst/>
          </a:prstGeom>
          <a:noFill/>
          <a:ln w="63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6A8A02C-01AD-0B4E-98CA-CC0925D56B62}"/>
              </a:ext>
            </a:extLst>
          </p:cNvPr>
          <p:cNvCxnSpPr/>
          <p:nvPr userDrawn="1"/>
        </p:nvCxnSpPr>
        <p:spPr>
          <a:xfrm>
            <a:off x="8352028" y="1721559"/>
            <a:ext cx="148119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6CC06314-FBFD-EF4D-B459-B30C4572E90B}"/>
              </a:ext>
            </a:extLst>
          </p:cNvPr>
          <p:cNvSpPr/>
          <p:nvPr userDrawn="1"/>
        </p:nvSpPr>
        <p:spPr>
          <a:xfrm>
            <a:off x="10155488" y="3706476"/>
            <a:ext cx="1481192" cy="2341832"/>
          </a:xfrm>
          <a:prstGeom prst="rect">
            <a:avLst/>
          </a:prstGeom>
          <a:noFill/>
          <a:ln w="63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9925B82-19E3-B046-B818-46EB2CE674C8}"/>
              </a:ext>
            </a:extLst>
          </p:cNvPr>
          <p:cNvCxnSpPr/>
          <p:nvPr userDrawn="1"/>
        </p:nvCxnSpPr>
        <p:spPr>
          <a:xfrm>
            <a:off x="10155492" y="3706476"/>
            <a:ext cx="148119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30151B63-B7C8-244C-A697-BF21A605C1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70771" y="1882589"/>
            <a:ext cx="1223028" cy="7395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Helvetica Neue LT Pro 55 Roman" panose="020B0604020202020204" pitchFamily="34" charset="77"/>
              </a:defRPr>
            </a:lvl1pPr>
          </a:lstStyle>
          <a:p>
            <a:pPr lvl="0"/>
            <a:r>
              <a:rPr lang="en-US"/>
              <a:t>lorem</a:t>
            </a:r>
            <a:br>
              <a:rPr lang="en-US"/>
            </a:br>
            <a:r>
              <a:rPr lang="en-US"/>
              <a:t>ipsum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6F5BF23-B08D-DE42-A0CB-884BC33DDE1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0771" y="5311594"/>
            <a:ext cx="1223028" cy="7395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400" b="1" i="0">
                <a:solidFill>
                  <a:schemeClr val="tx1"/>
                </a:solidFill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ADF0D62-D23D-AB4F-A622-0E653DF22E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68867" y="4558554"/>
            <a:ext cx="1223028" cy="7395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Helvetica Neue LT Pro 55 Roman" panose="020B0604020202020204" pitchFamily="34" charset="77"/>
              </a:defRPr>
            </a:lvl1pPr>
          </a:lstStyle>
          <a:p>
            <a:pPr lvl="0"/>
            <a:r>
              <a:rPr lang="en-US"/>
              <a:t>lorem</a:t>
            </a:r>
            <a:br>
              <a:rPr lang="en-US"/>
            </a:br>
            <a:r>
              <a:rPr lang="en-US"/>
              <a:t>ipsum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FB64E4D-EBD5-B541-A2A9-65A0A8C0F0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59230" y="3859307"/>
            <a:ext cx="1223028" cy="7395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Helvetica Neue LT Pro 55 Roman" panose="020B0604020202020204" pitchFamily="34" charset="77"/>
              </a:defRPr>
            </a:lvl1pPr>
          </a:lstStyle>
          <a:p>
            <a:pPr lvl="0"/>
            <a:r>
              <a:rPr lang="en-US"/>
              <a:t>lorem</a:t>
            </a:r>
            <a:br>
              <a:rPr lang="en-US"/>
            </a:br>
            <a:r>
              <a:rPr lang="en-US"/>
              <a:t>ipsum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B27992DC-A853-9D47-91D2-00E4CD8925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55419" y="5311594"/>
            <a:ext cx="1223028" cy="7395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400" b="1" i="0">
                <a:solidFill>
                  <a:schemeClr val="tx1"/>
                </a:solidFill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F823FFD-C9AF-3049-87E0-E679C22F6A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286123" y="5311594"/>
            <a:ext cx="1223028" cy="7395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400" b="1">
                <a:solidFill>
                  <a:schemeClr val="tx1"/>
                </a:solidFill>
                <a:latin typeface="Helvetica Neue LT Pro 55 Roman" panose="020B0604020202020204" pitchFamily="34" charset="77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A2F9104-973C-534F-B61D-C967EDD1E3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167" y="904585"/>
            <a:ext cx="4914900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131411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BD649D9-7D97-0748-A8EF-C9C4CEE3CB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5477" y="2670175"/>
            <a:ext cx="3321051" cy="1517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Big and bold title goes in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BF33801-A50D-BA4E-A3FE-8DB2C8C0F2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6461" y="2670175"/>
            <a:ext cx="3321051" cy="1517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Big and bold title goes in her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E7B1D41-A589-C044-A940-0F0E34721F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79213" y="2670175"/>
            <a:ext cx="3321051" cy="1517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Big and bold title goes in her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D3839B2-6D96-5A4F-865B-EBF3B2D55C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35477" y="355243"/>
            <a:ext cx="3321051" cy="2005997"/>
          </a:xfrm>
          <a:prstGeom prst="rect">
            <a:avLst/>
          </a:prstGeom>
        </p:spPr>
        <p:txBody>
          <a:bodyPr anchor="ctr"/>
          <a:lstStyle>
            <a:lvl1pPr marL="0" marR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106EC8B-9775-3A40-8E46-EB50D89C1B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79213" y="355243"/>
            <a:ext cx="3321051" cy="2005997"/>
          </a:xfrm>
          <a:prstGeom prst="rect">
            <a:avLst/>
          </a:prstGeom>
        </p:spPr>
        <p:txBody>
          <a:bodyPr anchor="ctr"/>
          <a:lstStyle>
            <a:lvl1pPr marL="0" marR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7EA76F9-A8C7-F14C-B6D7-64FD8FF191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9613" y="355243"/>
            <a:ext cx="3321051" cy="2005997"/>
          </a:xfrm>
          <a:prstGeom prst="rect">
            <a:avLst/>
          </a:prstGeom>
        </p:spPr>
        <p:txBody>
          <a:bodyPr anchor="ctr"/>
          <a:lstStyle>
            <a:lvl1pPr marL="0" marR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CB5477D-5A35-9C47-AADF-546DC8C962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5477" y="4603152"/>
            <a:ext cx="3321051" cy="2005997"/>
          </a:xfrm>
          <a:prstGeom prst="rect">
            <a:avLst/>
          </a:prstGeom>
        </p:spPr>
        <p:txBody>
          <a:bodyPr anchor="ctr"/>
          <a:lstStyle>
            <a:lvl1pPr marL="0" marR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1BD5BB3-AC14-2E4A-A012-932D4BA215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79213" y="4603152"/>
            <a:ext cx="3321051" cy="2005997"/>
          </a:xfrm>
          <a:prstGeom prst="rect">
            <a:avLst/>
          </a:prstGeom>
        </p:spPr>
        <p:txBody>
          <a:bodyPr anchor="ctr"/>
          <a:lstStyle>
            <a:lvl1pPr marL="0" marR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88BF4C7-0ABB-2F4C-8A11-802AA5F218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9613" y="4603152"/>
            <a:ext cx="3321051" cy="2005997"/>
          </a:xfrm>
          <a:prstGeom prst="rect">
            <a:avLst/>
          </a:prstGeom>
        </p:spPr>
        <p:txBody>
          <a:bodyPr anchor="ctr"/>
          <a:lstStyle>
            <a:lvl1pPr marL="0" marR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9120409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4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860E216-56E7-1847-8860-C463A8712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8627" y="904585"/>
            <a:ext cx="3328988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CA4D6CB-A5B8-A047-B5C9-9B1361E569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86275" y="371481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A390CEC-B873-1B47-8785-BB3958A0C6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3927" y="371481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FF86C0E-764E-DC4C-B0A7-5AF0502AF4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86275" y="3829056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EA1EE03-D9C3-0748-9B6C-DB1611DCB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43927" y="3829056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</p:spTree>
    <p:extLst>
      <p:ext uri="{BB962C8B-B14F-4D97-AF65-F5344CB8AC3E}">
        <p14:creationId xmlns:p14="http://schemas.microsoft.com/office/powerpoint/2010/main" val="29045596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2 stats and 2 image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33CDB61-0CF2-354A-84FF-1E39FE0F78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8627" y="904585"/>
            <a:ext cx="3328988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2AC29C9-7D40-FD4E-958C-12BCBD5BF5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86275" y="371481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254DA5C-2999-AA4D-A210-608963E1A7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43927" y="3829056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A6788EF-250B-1C42-A35E-03A076D5F8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6225" y="3429000"/>
            <a:ext cx="4043363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3B0E2616-CBB7-D749-A7C6-7969D1E461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43877" y="-14288"/>
            <a:ext cx="4043363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534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2 stats and 2 images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78098E36-C15D-134D-8768-D3451C4D7C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8627" y="904585"/>
            <a:ext cx="3328988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E7CA06-F5AC-DA44-B1EF-8356C0F612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86275" y="371481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4A7CAF6-C30E-BA4A-856A-ECD431E98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86275" y="3829056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F677C08-56BF-9644-9AA8-313B0DC492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43876" y="0"/>
            <a:ext cx="404812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8943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A2A878FF-7AB9-9B4A-8228-0A62F6BFD2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00565" y="1770063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1F21309D-2BEB-3F47-9B17-6094A44605E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00565" y="2838450"/>
            <a:ext cx="3190875" cy="3090862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BBBA6A5-BCB0-2149-8F70-6372F2C1A3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01077" y="1770063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DD722C7-6070-EC44-A9C2-B776989BB6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1077" y="2838450"/>
            <a:ext cx="3190875" cy="3090862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0620F4F-86C9-074A-8BE8-256C02EF3A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8627" y="904585"/>
            <a:ext cx="3328988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5646893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5B07E60-4478-4B43-9F7D-EB48A92A71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86229" y="0"/>
            <a:ext cx="81057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899B309-53BF-4A4A-B8D1-F4DE072C5F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8627" y="904585"/>
            <a:ext cx="3328988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074660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 - Title Slid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D56BA0E7-21A1-C544-834B-18EEE8C8E0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7435" y="1586753"/>
            <a:ext cx="8857130" cy="1842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80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Brand Story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303D316D-B370-7C4D-A94F-8C12D1CD55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7435" y="3451411"/>
            <a:ext cx="8857130" cy="1842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2868930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7CB9BC8-D3C3-D14E-9822-F3DB7364B8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86229" y="0"/>
            <a:ext cx="81057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B5916E8-F91D-3449-B8D4-D56B5158F2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6400" y="1558636"/>
            <a:ext cx="3351213" cy="440277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EA6384-8707-4A4C-BDAB-BB61183973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6403" y="0"/>
            <a:ext cx="1325820" cy="858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9400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F7C81F83-A6CE-3A48-ADBB-46B9DC2AAA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86229" y="0"/>
            <a:ext cx="81057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AC53E47-6F75-BE48-A9EF-13A911A699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2441" y="1770063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1D9D3CEE-6866-5B4D-8B4F-DA4606852A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2441" y="2838450"/>
            <a:ext cx="3190875" cy="3090862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3883756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E68180B-4EE4-A14D-AE4A-4B93830CDD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2441" y="1770063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79C4BA35-FFE6-7F4D-B0A4-732D381394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2441" y="2838450"/>
            <a:ext cx="3190875" cy="3090862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3F190FAE-FDDF-7348-A65A-79731CA924C3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4103688" y="0"/>
            <a:ext cx="8088312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8640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FC72E128-A786-B340-A11F-4FB5E79E3B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2441" y="1770063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725D985E-9B8A-FC4F-A5FA-D7C73EB2BF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2441" y="2838450"/>
            <a:ext cx="3190875" cy="3090862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079CA32-905B-6544-BB86-CF10CE0C501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14875" y="904585"/>
            <a:ext cx="6858000" cy="505682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9978139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ement with 4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860E216-56E7-1847-8860-C463A87122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8627" y="904585"/>
            <a:ext cx="3328988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CA4D6CB-A5B8-A047-B5C9-9B1361E569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86275" y="371481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A390CEC-B873-1B47-8785-BB3958A0C6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3927" y="371481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FF86C0E-764E-DC4C-B0A7-5AF0502AF4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86275" y="3829056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EA1EE03-D9C3-0748-9B6C-DB1611DCB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43927" y="3829056"/>
            <a:ext cx="3328988" cy="26574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ld stat goes in here</a:t>
            </a:r>
          </a:p>
        </p:txBody>
      </p:sp>
    </p:spTree>
    <p:extLst>
      <p:ext uri="{BB962C8B-B14F-4D97-AF65-F5344CB8AC3E}">
        <p14:creationId xmlns:p14="http://schemas.microsoft.com/office/powerpoint/2010/main" val="20625147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A2A878FF-7AB9-9B4A-8228-0A62F6BFD2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00565" y="1770063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1F21309D-2BEB-3F47-9B17-6094A44605E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00565" y="2838450"/>
            <a:ext cx="3190875" cy="3090862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BBBA6A5-BCB0-2149-8F70-6372F2C1A3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01077" y="1770063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DD722C7-6070-EC44-A9C2-B776989BB6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1077" y="2838450"/>
            <a:ext cx="3190875" cy="3090862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0620F4F-86C9-074A-8BE8-256C02EF3A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8627" y="904585"/>
            <a:ext cx="3328988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7716634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2CE8B4D2-22A3-4642-B7B8-FD3D53A662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00565" y="1770063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87BADA87-6D83-2349-84CC-82DAD2562E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00565" y="2838450"/>
            <a:ext cx="3190875" cy="3090862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1F19FEA6-8C27-FE49-9957-6943110F79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01077" y="1770063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B82EB4F9-F7E4-0D44-A559-326C61D025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01077" y="2838450"/>
            <a:ext cx="3190875" cy="3090862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59A4DC9-051B-E540-86F8-6EBEDC925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8627" y="1770062"/>
            <a:ext cx="3328988" cy="419135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572E6AF-2E84-4640-8F6A-D0B5384F6B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6403" y="0"/>
            <a:ext cx="1325820" cy="858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97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CA89F4FB-6562-B54F-B9D7-3C0CF37BE9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8627" y="904585"/>
            <a:ext cx="3328988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F191BD98-F204-C840-BDF8-B2DE4566C6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7703" y="904585"/>
            <a:ext cx="3328988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B9D8D3FA-6559-6448-A1BB-F3D012FAC8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43927" y="904585"/>
            <a:ext cx="3328988" cy="50568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7379938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5A8A759-54D9-1145-80BC-9858CC6455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8627" y="1770062"/>
            <a:ext cx="3328988" cy="419135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9B8A86-1B3E-974A-8DD3-1E0679F2DB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6403" y="0"/>
            <a:ext cx="1325820" cy="858982"/>
          </a:xfrm>
          <a:prstGeom prst="rect">
            <a:avLst/>
          </a:prstGeom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0EE54B6-0E1F-3847-943F-9B51E427EC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9127" y="1770062"/>
            <a:ext cx="3328988" cy="419135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53E28EA-D80B-9F41-B16B-1896CF61F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23143" y="1770062"/>
            <a:ext cx="3328988" cy="419135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i="0" spc="-151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78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354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532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709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g and bold 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5658212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70ECF74-7EAC-6F46-A607-AD24F39C33C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00565" y="3230570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7E8611A7-2D65-FF43-B489-5C2ABB32F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00565" y="4298960"/>
            <a:ext cx="3190875" cy="2105025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F5E1C93C-950D-F041-8693-815C55FA05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625" y="3230570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C5899F03-B76F-654B-A576-A64430552D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8625" y="4298960"/>
            <a:ext cx="3190875" cy="2105025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10419512-E0F5-C747-B6AA-E4A4E426474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43937" y="3230570"/>
            <a:ext cx="3190875" cy="6254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 i="0">
                <a:solidFill>
                  <a:schemeClr val="bg1"/>
                </a:solidFill>
                <a:latin typeface="Helvetica Neue LT Pro 75" panose="020B0604020202020204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E4629708-5B85-5F4F-A730-5A206C6ACA3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43937" y="4298960"/>
            <a:ext cx="3190875" cy="2105025"/>
          </a:xfrm>
          <a:prstGeom prst="rect">
            <a:avLst/>
          </a:prstGeo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1pPr>
            <a:lvl2pPr marL="457178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2pPr>
            <a:lvl3pPr marL="914354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3pPr>
            <a:lvl4pPr marL="1371532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4pPr>
            <a:lvl5pPr marL="1828709" indent="0" algn="l">
              <a:buNone/>
              <a:defRPr b="0" i="0">
                <a:solidFill>
                  <a:schemeClr val="bg1"/>
                </a:solidFill>
                <a:latin typeface="Helvetica Neue LT Pro 55 Roman" panose="020B0604020202020204" pitchFamily="34" charset="77"/>
              </a:defRPr>
            </a:lvl5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orem </a:t>
            </a:r>
            <a:r>
              <a:rPr lang="en-US" err="1"/>
              <a:t>ipsi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7BBE137-C010-4546-AB8B-8194E27F39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635344"/>
            <a:ext cx="3190875" cy="19808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0CBEE31-D43D-6746-97CA-B18D6FAB26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29137" y="635344"/>
            <a:ext cx="3190875" cy="19808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B8248D9-08C6-7149-B995-97C8DD2669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43937" y="635344"/>
            <a:ext cx="3190875" cy="19808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0" b="1" i="0">
                <a:solidFill>
                  <a:schemeClr val="bg1"/>
                </a:solidFill>
                <a:latin typeface="Helvetica Neue LT Pro 75" panose="020B0604020202020204" pitchFamily="34" charset="77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27393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25274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54B9AD4-1500-0D4E-885D-BFC578E444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43713" y="4364875"/>
            <a:ext cx="4914900" cy="10051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Subtitle goes in here if needed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F54B9AD4-1500-0D4E-885D-BFC578E444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3713" y="1481975"/>
            <a:ext cx="4914900" cy="26201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/>
              <a:t>Subtitle goes in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1441857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Kind -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57632" y="84287"/>
            <a:ext cx="9155185" cy="727807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3600" spc="-151"/>
            </a:lvl1pPr>
          </a:lstStyle>
          <a:p>
            <a:r>
              <a:rPr lang="en-US"/>
              <a:t>Main headlin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8293"/>
            <a:ext cx="10972800" cy="5127873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485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 - Colour Slides -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C7BB30A-6AED-9140-BADB-76586D1011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9063" y="1174750"/>
            <a:ext cx="9386887" cy="47958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2000" b="1" i="0" smtClean="0">
                <a:effectLst/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Cras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7911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5D4F19E2-2640-F945-A68C-00DDEAA0EB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9063" y="1174750"/>
            <a:ext cx="9386887" cy="47958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2000" b="1" i="0" smtClean="0">
                <a:solidFill>
                  <a:schemeClr val="bg1"/>
                </a:solidFill>
                <a:effectLst/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Cras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88477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 - Colour Slides -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774BE59-AA3E-FE45-94B7-392EB59A79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9063" y="1174750"/>
            <a:ext cx="9386887" cy="47958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2000" b="1" i="0" smtClean="0">
                <a:effectLst/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Cras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138353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F14F2024-CE72-BC4A-85E5-12D6BE2CCF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9063" y="1174750"/>
            <a:ext cx="9386887" cy="479583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GB" sz="2000" b="1" i="0" smtClean="0">
                <a:solidFill>
                  <a:schemeClr val="bg1"/>
                </a:solidFill>
                <a:effectLst/>
                <a:latin typeface="Helvetica Neue LT Pro 75" panose="020B0604020202020204" pitchFamily="34" charset="77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vitae </a:t>
            </a:r>
            <a:r>
              <a:rPr lang="en-US" err="1"/>
              <a:t>sodales</a:t>
            </a:r>
            <a:r>
              <a:rPr lang="en-US"/>
              <a:t> ligula, et </a:t>
            </a:r>
            <a:r>
              <a:rPr lang="en-US" err="1"/>
              <a:t>rhoncus</a:t>
            </a:r>
            <a:r>
              <a:rPr lang="en-US"/>
              <a:t> libero. In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, tempus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pharetra </a:t>
            </a:r>
            <a:r>
              <a:rPr lang="en-US" err="1"/>
              <a:t>porttitor</a:t>
            </a:r>
            <a:r>
              <a:rPr lang="en-US"/>
              <a:t>. Cras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, lacinia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,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. Vestibulum </a:t>
            </a:r>
            <a:r>
              <a:rPr lang="en-US" err="1"/>
              <a:t>facilisis</a:t>
            </a:r>
            <a:r>
              <a:rPr lang="en-US"/>
              <a:t> </a:t>
            </a:r>
            <a:r>
              <a:rPr lang="en-US" err="1"/>
              <a:t>mattis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Vestibulum at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, cursus </a:t>
            </a:r>
            <a:r>
              <a:rPr lang="en-US" err="1"/>
              <a:t>lectus</a:t>
            </a:r>
            <a:r>
              <a:rPr lang="en-US"/>
              <a:t> vel,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in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19975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28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4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17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577E151-37EA-8241-B5B1-C061F3AB40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025387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85" r:id="rId3"/>
    <p:sldLayoutId id="2147483708" r:id="rId4"/>
    <p:sldLayoutId id="2147483745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3671292-65C5-1F4B-A867-3CBAF570DF52}"/>
              </a:ext>
            </a:extLst>
          </p:cNvPr>
          <p:cNvSpPr/>
          <p:nvPr userDrawn="1"/>
        </p:nvSpPr>
        <p:spPr>
          <a:xfrm>
            <a:off x="8139955" y="0"/>
            <a:ext cx="4052047" cy="3429000"/>
          </a:xfrm>
          <a:prstGeom prst="rect">
            <a:avLst/>
          </a:prstGeom>
          <a:solidFill>
            <a:srgbClr val="D826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3DF520-1FA8-C949-AC50-D93D4AA4CC78}"/>
              </a:ext>
            </a:extLst>
          </p:cNvPr>
          <p:cNvSpPr/>
          <p:nvPr userDrawn="1"/>
        </p:nvSpPr>
        <p:spPr>
          <a:xfrm>
            <a:off x="8139952" y="3429000"/>
            <a:ext cx="4052048" cy="3429000"/>
          </a:xfrm>
          <a:prstGeom prst="rect">
            <a:avLst/>
          </a:prstGeom>
          <a:solidFill>
            <a:srgbClr val="B9BE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50A8D21-6940-434E-9950-9BAEBF897E9B}"/>
              </a:ext>
            </a:extLst>
          </p:cNvPr>
          <p:cNvSpPr/>
          <p:nvPr userDrawn="1"/>
        </p:nvSpPr>
        <p:spPr>
          <a:xfrm>
            <a:off x="4052051" y="0"/>
            <a:ext cx="4087900" cy="3429000"/>
          </a:xfrm>
          <a:prstGeom prst="rect">
            <a:avLst/>
          </a:prstGeom>
          <a:solidFill>
            <a:srgbClr val="FE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07F55EE-03CF-FF4E-A14E-3D75B84D017C}"/>
              </a:ext>
            </a:extLst>
          </p:cNvPr>
          <p:cNvSpPr/>
          <p:nvPr userDrawn="1"/>
        </p:nvSpPr>
        <p:spPr>
          <a:xfrm>
            <a:off x="4052049" y="3429000"/>
            <a:ext cx="4087899" cy="3429000"/>
          </a:xfrm>
          <a:prstGeom prst="rect">
            <a:avLst/>
          </a:prstGeom>
          <a:solidFill>
            <a:srgbClr val="61B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493F03B-D5D9-F449-AC1B-1B733906B5FF}"/>
              </a:ext>
            </a:extLst>
          </p:cNvPr>
          <p:cNvSpPr/>
          <p:nvPr userDrawn="1"/>
        </p:nvSpPr>
        <p:spPr>
          <a:xfrm>
            <a:off x="1" y="0"/>
            <a:ext cx="408789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096383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49" r:id="rId4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AE017D5-CA33-F84F-A308-4274345063F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0D83759-7186-E147-ACDD-D96528C32EF4}"/>
              </a:ext>
            </a:extLst>
          </p:cNvPr>
          <p:cNvSpPr/>
          <p:nvPr userDrawn="1"/>
        </p:nvSpPr>
        <p:spPr>
          <a:xfrm>
            <a:off x="3" y="0"/>
            <a:ext cx="4087900" cy="6858000"/>
          </a:xfrm>
          <a:prstGeom prst="rect">
            <a:avLst/>
          </a:prstGeom>
          <a:solidFill>
            <a:srgbClr val="FE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978254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35" r:id="rId2"/>
    <p:sldLayoutId id="2147483727" r:id="rId3"/>
    <p:sldLayoutId id="2147483740" r:id="rId4"/>
    <p:sldLayoutId id="2147483730" r:id="rId5"/>
    <p:sldLayoutId id="2147483748" r:id="rId6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AA0854-6C13-F345-8A07-E2584B62B649}"/>
              </a:ext>
            </a:extLst>
          </p:cNvPr>
          <p:cNvSpPr/>
          <p:nvPr userDrawn="1"/>
        </p:nvSpPr>
        <p:spPr>
          <a:xfrm>
            <a:off x="4052051" y="0"/>
            <a:ext cx="4087900" cy="6858000"/>
          </a:xfrm>
          <a:prstGeom prst="rect">
            <a:avLst/>
          </a:prstGeom>
          <a:solidFill>
            <a:srgbClr val="FE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761FCE-EFB2-F14A-9649-9771E863201A}"/>
              </a:ext>
            </a:extLst>
          </p:cNvPr>
          <p:cNvSpPr/>
          <p:nvPr userDrawn="1"/>
        </p:nvSpPr>
        <p:spPr>
          <a:xfrm>
            <a:off x="8139953" y="0"/>
            <a:ext cx="4087899" cy="6858000"/>
          </a:xfrm>
          <a:prstGeom prst="rect">
            <a:avLst/>
          </a:prstGeom>
          <a:solidFill>
            <a:srgbClr val="61B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B4B9298-6380-A748-A9DB-957DAC34FBF7}"/>
              </a:ext>
            </a:extLst>
          </p:cNvPr>
          <p:cNvSpPr/>
          <p:nvPr userDrawn="1"/>
        </p:nvSpPr>
        <p:spPr>
          <a:xfrm>
            <a:off x="-19886" y="0"/>
            <a:ext cx="40879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  <a:highlight>
                <a:srgbClr val="0000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99279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6" r:id="rId2"/>
    <p:sldLayoutId id="2147483731" r:id="rId3"/>
    <p:sldLayoutId id="2147483737" r:id="rId4"/>
    <p:sldLayoutId id="2147483732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33ED197-DEEE-B740-B0AE-2A10B2F3AE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5" name="Picture 4" descr="A box of food&#10;&#10;Description automatically generated">
            <a:extLst>
              <a:ext uri="{FF2B5EF4-FFF2-40B4-BE49-F238E27FC236}">
                <a16:creationId xmlns:a16="http://schemas.microsoft.com/office/drawing/2014/main" id="{DC259809-D08A-124E-9C76-08BDBBA425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398" y="551216"/>
            <a:ext cx="6929900" cy="5779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726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8032674-C425-9B48-8823-4BF28B2E438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E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217940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712" r:id="rId2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C77419B-A787-0F40-9E0A-141CF1DE7606}"/>
              </a:ext>
            </a:extLst>
          </p:cNvPr>
          <p:cNvSpPr/>
          <p:nvPr userDrawn="1"/>
        </p:nvSpPr>
        <p:spPr>
          <a:xfrm>
            <a:off x="-11874" y="-11875"/>
            <a:ext cx="12302836" cy="6994566"/>
          </a:xfrm>
          <a:prstGeom prst="rect">
            <a:avLst/>
          </a:prstGeom>
          <a:solidFill>
            <a:srgbClr val="D826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40128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10" r:id="rId2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7BDDD80-DF68-3B4D-9BDA-583467061DB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9BE1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283251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09" r:id="rId2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85DC501-8E31-8E40-91F2-8972090BEB9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1B3E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864184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11" r:id="rId2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319E1B8-DD1B-BA4D-BA95-006D795BBA3F}"/>
              </a:ext>
            </a:extLst>
          </p:cNvPr>
          <p:cNvSpPr/>
          <p:nvPr userDrawn="1"/>
        </p:nvSpPr>
        <p:spPr>
          <a:xfrm>
            <a:off x="8964" y="6"/>
            <a:ext cx="12192000" cy="280595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41BA70-E31E-9741-A9E3-6C2F2F73A6B6}"/>
              </a:ext>
            </a:extLst>
          </p:cNvPr>
          <p:cNvSpPr/>
          <p:nvPr userDrawn="1"/>
        </p:nvSpPr>
        <p:spPr>
          <a:xfrm>
            <a:off x="6096003" y="2805959"/>
            <a:ext cx="6104964" cy="4052047"/>
          </a:xfrm>
          <a:prstGeom prst="rect">
            <a:avLst/>
          </a:prstGeom>
          <a:solidFill>
            <a:srgbClr val="61B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18ADBD0-3140-0541-AE35-430584736D81}"/>
              </a:ext>
            </a:extLst>
          </p:cNvPr>
          <p:cNvSpPr/>
          <p:nvPr userDrawn="1"/>
        </p:nvSpPr>
        <p:spPr>
          <a:xfrm>
            <a:off x="0" y="2805952"/>
            <a:ext cx="6096000" cy="4052048"/>
          </a:xfrm>
          <a:prstGeom prst="rect">
            <a:avLst/>
          </a:prstGeom>
          <a:solidFill>
            <a:srgbClr val="FE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209035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13" r:id="rId2"/>
    <p:sldLayoutId id="2147483733" r:id="rId3"/>
    <p:sldLayoutId id="2147483734" r:id="rId4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12A1BD7-E222-5347-96B2-137517DD89A5}"/>
              </a:ext>
            </a:extLst>
          </p:cNvPr>
          <p:cNvSpPr/>
          <p:nvPr userDrawn="1"/>
        </p:nvSpPr>
        <p:spPr>
          <a:xfrm>
            <a:off x="-98613" y="-71718"/>
            <a:ext cx="12299577" cy="28776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3FD2BC-54CF-274B-9CA5-6DD38CFACB14}"/>
              </a:ext>
            </a:extLst>
          </p:cNvPr>
          <p:cNvSpPr/>
          <p:nvPr userDrawn="1"/>
        </p:nvSpPr>
        <p:spPr>
          <a:xfrm>
            <a:off x="4025152" y="2805959"/>
            <a:ext cx="4114800" cy="4052047"/>
          </a:xfrm>
          <a:prstGeom prst="rect">
            <a:avLst/>
          </a:prstGeom>
          <a:solidFill>
            <a:srgbClr val="D826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4D49E7-3DD7-1740-AD13-549826AD1CA5}"/>
              </a:ext>
            </a:extLst>
          </p:cNvPr>
          <p:cNvSpPr/>
          <p:nvPr userDrawn="1"/>
        </p:nvSpPr>
        <p:spPr>
          <a:xfrm>
            <a:off x="8139952" y="2805959"/>
            <a:ext cx="4114800" cy="4052047"/>
          </a:xfrm>
          <a:prstGeom prst="rect">
            <a:avLst/>
          </a:prstGeom>
          <a:solidFill>
            <a:srgbClr val="B9BE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8F6E4D0-2BA3-A549-A90E-2A5D64EE34B3}"/>
              </a:ext>
            </a:extLst>
          </p:cNvPr>
          <p:cNvSpPr/>
          <p:nvPr userDrawn="1"/>
        </p:nvSpPr>
        <p:spPr>
          <a:xfrm>
            <a:off x="-89648" y="2805952"/>
            <a:ext cx="4114800" cy="4052048"/>
          </a:xfrm>
          <a:prstGeom prst="rect">
            <a:avLst/>
          </a:prstGeom>
          <a:solidFill>
            <a:srgbClr val="FE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536538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6C5E2D1-6B68-CA40-9F14-C407E8295E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330787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702" r:id="rId2"/>
    <p:sldLayoutId id="2147483707" r:id="rId3"/>
    <p:sldLayoutId id="2147483694" r:id="rId4"/>
    <p:sldLayoutId id="2147483696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F344D13-B879-9440-809D-6C767009560E}"/>
              </a:ext>
            </a:extLst>
          </p:cNvPr>
          <p:cNvSpPr/>
          <p:nvPr userDrawn="1"/>
        </p:nvSpPr>
        <p:spPr>
          <a:xfrm>
            <a:off x="4025152" y="1"/>
            <a:ext cx="4114800" cy="6858000"/>
          </a:xfrm>
          <a:prstGeom prst="rect">
            <a:avLst/>
          </a:prstGeom>
          <a:solidFill>
            <a:srgbClr val="D826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8F8DA6-371F-5142-B095-BD3EEE71A755}"/>
              </a:ext>
            </a:extLst>
          </p:cNvPr>
          <p:cNvSpPr/>
          <p:nvPr userDrawn="1"/>
        </p:nvSpPr>
        <p:spPr>
          <a:xfrm>
            <a:off x="8139952" y="1"/>
            <a:ext cx="4052048" cy="6858000"/>
          </a:xfrm>
          <a:prstGeom prst="rect">
            <a:avLst/>
          </a:prstGeom>
          <a:solidFill>
            <a:srgbClr val="B9BE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D2D1C3-CBB4-CD44-80DD-41608D1CD369}"/>
              </a:ext>
            </a:extLst>
          </p:cNvPr>
          <p:cNvSpPr/>
          <p:nvPr userDrawn="1"/>
        </p:nvSpPr>
        <p:spPr>
          <a:xfrm>
            <a:off x="0" y="0"/>
            <a:ext cx="4025152" cy="6858000"/>
          </a:xfrm>
          <a:prstGeom prst="rect">
            <a:avLst/>
          </a:prstGeom>
          <a:solidFill>
            <a:srgbClr val="FE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C188ABD-8725-7343-BFFE-4DC63BB7084D}"/>
              </a:ext>
            </a:extLst>
          </p:cNvPr>
          <p:cNvCxnSpPr/>
          <p:nvPr userDrawn="1"/>
        </p:nvCxnSpPr>
        <p:spPr>
          <a:xfrm>
            <a:off x="682910" y="4386805"/>
            <a:ext cx="252328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54CFBBF-D359-834D-B481-6B9D06366549}"/>
              </a:ext>
            </a:extLst>
          </p:cNvPr>
          <p:cNvCxnSpPr/>
          <p:nvPr userDrawn="1"/>
        </p:nvCxnSpPr>
        <p:spPr>
          <a:xfrm>
            <a:off x="4826648" y="4386805"/>
            <a:ext cx="252328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2AE932-EAC8-124E-BF2D-ACD8D0034AD3}"/>
              </a:ext>
            </a:extLst>
          </p:cNvPr>
          <p:cNvCxnSpPr/>
          <p:nvPr userDrawn="1"/>
        </p:nvCxnSpPr>
        <p:spPr>
          <a:xfrm>
            <a:off x="8924085" y="4386805"/>
            <a:ext cx="252328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2D3B874-35AE-4141-9FF0-B2B8E060891A}"/>
              </a:ext>
            </a:extLst>
          </p:cNvPr>
          <p:cNvCxnSpPr/>
          <p:nvPr userDrawn="1"/>
        </p:nvCxnSpPr>
        <p:spPr>
          <a:xfrm>
            <a:off x="682910" y="2488557"/>
            <a:ext cx="252328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FA0C4B-9CFA-EA42-A330-E0C5A5FCA5EE}"/>
              </a:ext>
            </a:extLst>
          </p:cNvPr>
          <p:cNvCxnSpPr/>
          <p:nvPr userDrawn="1"/>
        </p:nvCxnSpPr>
        <p:spPr>
          <a:xfrm>
            <a:off x="4826648" y="2488557"/>
            <a:ext cx="252328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2ABA336-40DF-EB47-AA64-3EFC53F65BEF}"/>
              </a:ext>
            </a:extLst>
          </p:cNvPr>
          <p:cNvCxnSpPr/>
          <p:nvPr userDrawn="1"/>
        </p:nvCxnSpPr>
        <p:spPr>
          <a:xfrm>
            <a:off x="8924085" y="2488557"/>
            <a:ext cx="252328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1592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jpg"/><Relationship Id="rId3" Type="http://schemas.openxmlformats.org/officeDocument/2006/relationships/diagramLayout" Target="../diagrams/layout1.xml"/><Relationship Id="rId7" Type="http://schemas.openxmlformats.org/officeDocument/2006/relationships/image" Target="../media/image4.png"/><Relationship Id="rId12" Type="http://schemas.openxmlformats.org/officeDocument/2006/relationships/image" Target="../media/image9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7.xml"/><Relationship Id="rId6" Type="http://schemas.microsoft.com/office/2007/relationships/diagramDrawing" Target="../diagrams/drawing1.xml"/><Relationship Id="rId11" Type="http://schemas.openxmlformats.org/officeDocument/2006/relationships/image" Target="../media/image8.png"/><Relationship Id="rId5" Type="http://schemas.openxmlformats.org/officeDocument/2006/relationships/diagramColors" Target="../diagrams/colors1.xml"/><Relationship Id="rId15" Type="http://schemas.microsoft.com/office/2007/relationships/hdphoto" Target="../media/hdphoto1.wdp"/><Relationship Id="rId10" Type="http://schemas.openxmlformats.org/officeDocument/2006/relationships/image" Target="../media/image7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5.jp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5" Type="http://schemas.openxmlformats.org/officeDocument/2006/relationships/image" Target="../media/image15.jp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jpg"/><Relationship Id="rId5" Type="http://schemas.openxmlformats.org/officeDocument/2006/relationships/image" Target="../media/image17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4.png"/><Relationship Id="rId7" Type="http://schemas.openxmlformats.org/officeDocument/2006/relationships/image" Target="../media/image15.jpg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jpg"/><Relationship Id="rId11" Type="http://schemas.openxmlformats.org/officeDocument/2006/relationships/image" Target="../media/image5.png"/><Relationship Id="rId5" Type="http://schemas.openxmlformats.org/officeDocument/2006/relationships/image" Target="../media/image17.png"/><Relationship Id="rId10" Type="http://schemas.openxmlformats.org/officeDocument/2006/relationships/image" Target="../media/image6.png"/><Relationship Id="rId4" Type="http://schemas.openxmlformats.org/officeDocument/2006/relationships/image" Target="../media/image19.png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fruit, nut, indoor&#10;&#10;Description automatically generated">
            <a:extLst>
              <a:ext uri="{FF2B5EF4-FFF2-40B4-BE49-F238E27FC236}">
                <a16:creationId xmlns:a16="http://schemas.microsoft.com/office/drawing/2014/main" id="{CD8B4004-47A2-EE48-9F08-ED4AD23C9AC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4669028" y="-746885"/>
            <a:ext cx="6858000" cy="835177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20D4E1B-1643-6A45-85D3-31A0014D72F5}"/>
              </a:ext>
            </a:extLst>
          </p:cNvPr>
          <p:cNvSpPr txBox="1">
            <a:spLocks/>
          </p:cNvSpPr>
          <p:nvPr/>
        </p:nvSpPr>
        <p:spPr>
          <a:xfrm>
            <a:off x="472319" y="1376703"/>
            <a:ext cx="4914900" cy="365665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0" b="1" i="0" kern="1200" spc="-150">
                <a:ln>
                  <a:noFill/>
                </a:ln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00" dirty="0"/>
              <a:t>Activation Effectiveness Analysis </a:t>
            </a:r>
          </a:p>
          <a:p>
            <a:r>
              <a:rPr lang="en-US" sz="4400" dirty="0"/>
              <a:t> </a:t>
            </a:r>
          </a:p>
          <a:p>
            <a:r>
              <a:rPr lang="en-US" sz="3600" b="0"/>
              <a:t>1</a:t>
            </a:r>
            <a:r>
              <a:rPr lang="en-US" sz="3600" b="0" baseline="30000"/>
              <a:t>st</a:t>
            </a:r>
            <a:r>
              <a:rPr lang="en-US" sz="3600" b="0"/>
              <a:t> Interim Results</a:t>
            </a:r>
            <a:endParaRPr lang="en-US" sz="3600" b="0" dirty="0"/>
          </a:p>
          <a:p>
            <a:endParaRPr lang="en-US" sz="4000" b="0" dirty="0"/>
          </a:p>
          <a:p>
            <a:r>
              <a:rPr lang="en-US" sz="2000" b="0" dirty="0"/>
              <a:t>April 2, 2020</a:t>
            </a:r>
          </a:p>
        </p:txBody>
      </p:sp>
      <p:pic>
        <p:nvPicPr>
          <p:cNvPr id="4" name="Picture 2" descr="Image result for kind logo">
            <a:extLst>
              <a:ext uri="{FF2B5EF4-FFF2-40B4-BE49-F238E27FC236}">
                <a16:creationId xmlns:a16="http://schemas.microsoft.com/office/drawing/2014/main" id="{E1948314-8437-4BF8-8CDD-BB16B77B5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5" y="5212"/>
            <a:ext cx="1108997" cy="74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37887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6B37FA-EE1A-4BB7-B4AB-1CDD6CB1C8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5321E23-D9B2-4FF4-97E6-89BED4D9ED11}"/>
              </a:ext>
            </a:extLst>
          </p:cNvPr>
          <p:cNvSpPr txBox="1"/>
          <p:nvPr/>
        </p:nvSpPr>
        <p:spPr>
          <a:xfrm>
            <a:off x="4676775" y="428335"/>
            <a:ext cx="7505700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CH" b="1" dirty="0">
                <a:solidFill>
                  <a:srgbClr val="F1B800"/>
                </a:solidFill>
              </a:rPr>
              <a:t>Validation </a:t>
            </a:r>
            <a:r>
              <a:rPr lang="de-CH" dirty="0">
                <a:solidFill>
                  <a:schemeClr val="bg1"/>
                </a:solidFill>
              </a:rPr>
              <a:t>of first learnings by other 3 test markets by mid Apr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de-CH" dirty="0">
                <a:solidFill>
                  <a:schemeClr val="bg1"/>
                </a:solidFill>
              </a:rPr>
              <a:t>UAE, IE, DE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de-CH" b="1" dirty="0">
                <a:solidFill>
                  <a:srgbClr val="F1B800"/>
                </a:solidFill>
              </a:rPr>
              <a:t>Budget optimization calculater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de-CH" dirty="0">
                <a:solidFill>
                  <a:schemeClr val="bg1"/>
                </a:solidFill>
              </a:rPr>
              <a:t>Investment ratio based on country-specific cost, budget &amp; uplift insights  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de-CH" dirty="0">
                <a:solidFill>
                  <a:schemeClr val="bg1"/>
                </a:solidFill>
              </a:rPr>
              <a:t>Min investment thresholds for levers 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de-CH" dirty="0">
              <a:solidFill>
                <a:schemeClr val="bg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de-CH" b="1" dirty="0">
                <a:solidFill>
                  <a:srgbClr val="F1B800"/>
                </a:solidFill>
              </a:rPr>
              <a:t>Brand-awareness building </a:t>
            </a:r>
            <a:r>
              <a:rPr lang="de-CH" dirty="0">
                <a:solidFill>
                  <a:schemeClr val="bg1"/>
                </a:solidFill>
              </a:rPr>
              <a:t>consideration: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de-CH" dirty="0">
                <a:solidFill>
                  <a:schemeClr val="bg1"/>
                </a:solidFill>
              </a:rPr>
              <a:t>How much of the budget should be spent on activities with long-term payback, rather than immediate sales uplift we see in model?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8B29280-F8F6-4992-9233-E95B7F2AE0E5}"/>
              </a:ext>
            </a:extLst>
          </p:cNvPr>
          <p:cNvGrpSpPr/>
          <p:nvPr/>
        </p:nvGrpSpPr>
        <p:grpSpPr>
          <a:xfrm>
            <a:off x="5676900" y="2735465"/>
            <a:ext cx="4691447" cy="2752523"/>
            <a:chOff x="7205278" y="2440190"/>
            <a:chExt cx="4691447" cy="275252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B60275D-31BD-4389-9B81-73BC2345CC3B}"/>
                </a:ext>
              </a:extLst>
            </p:cNvPr>
            <p:cNvSpPr/>
            <p:nvPr/>
          </p:nvSpPr>
          <p:spPr>
            <a:xfrm>
              <a:off x="8714285" y="2918478"/>
              <a:ext cx="3182440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D8262E"/>
                  </a:solidFill>
                  <a:effectLst/>
                  <a:uLnTx/>
                  <a:uFillTx/>
                </a:rPr>
                <a:t>~22% budget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D8262E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D907B33-D42F-48B9-925E-82B140B96358}"/>
                </a:ext>
              </a:extLst>
            </p:cNvPr>
            <p:cNvSpPr/>
            <p:nvPr/>
          </p:nvSpPr>
          <p:spPr>
            <a:xfrm>
              <a:off x="8714285" y="2641479"/>
              <a:ext cx="3182440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FEA900"/>
                  </a:solidFill>
                  <a:effectLst/>
                  <a:uLnTx/>
                  <a:uFillTx/>
                </a:rPr>
                <a:t>~78% budget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EA900"/>
                </a:solidFill>
                <a:effectLst/>
                <a:uLnTx/>
                <a:uFillTx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C9B9083-42AB-4803-9BF6-A4620AE3A8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205278" y="2440190"/>
              <a:ext cx="2987990" cy="2752523"/>
            </a:xfrm>
            <a:prstGeom prst="rect">
              <a:avLst/>
            </a:prstGeom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50C0C2B1-D13F-4CD8-A37F-29FDD8785C47}"/>
              </a:ext>
            </a:extLst>
          </p:cNvPr>
          <p:cNvSpPr txBox="1"/>
          <p:nvPr/>
        </p:nvSpPr>
        <p:spPr>
          <a:xfrm>
            <a:off x="8791575" y="3810000"/>
            <a:ext cx="1466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i="1" dirty="0">
                <a:solidFill>
                  <a:schemeClr val="bg1"/>
                </a:solidFill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1393315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 result for kind logo">
            <a:extLst>
              <a:ext uri="{FF2B5EF4-FFF2-40B4-BE49-F238E27FC236}">
                <a16:creationId xmlns:a16="http://schemas.microsoft.com/office/drawing/2014/main" id="{46CFEE2C-8840-4EB4-8E18-7D8816CD2F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5" y="5863"/>
            <a:ext cx="1108997" cy="74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44C501B3-8612-4F89-AE50-BAA60B8A01B7}"/>
              </a:ext>
            </a:extLst>
          </p:cNvPr>
          <p:cNvSpPr txBox="1">
            <a:spLocks/>
          </p:cNvSpPr>
          <p:nvPr/>
        </p:nvSpPr>
        <p:spPr>
          <a:xfrm>
            <a:off x="260076" y="64791"/>
            <a:ext cx="4914900" cy="1005147"/>
          </a:xfrm>
          <a:prstGeom prst="rect">
            <a:avLst/>
          </a:prstGeom>
        </p:spPr>
        <p:txBody>
          <a:bodyPr anchor="ctr"/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bjectiv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CF2583-72AD-497D-A444-DBFD6968BC57}"/>
              </a:ext>
            </a:extLst>
          </p:cNvPr>
          <p:cNvSpPr txBox="1"/>
          <p:nvPr/>
        </p:nvSpPr>
        <p:spPr>
          <a:xfrm>
            <a:off x="638175" y="1752600"/>
            <a:ext cx="98297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B0F0"/>
                </a:solidFill>
              </a:rPr>
              <a:t>Identify key activation levers that drive volume growth &amp; optimize our marketing investment</a:t>
            </a:r>
          </a:p>
          <a:p>
            <a:pPr algn="ctr"/>
            <a:endParaRPr lang="de-CH" sz="2400" b="1" dirty="0">
              <a:solidFill>
                <a:srgbClr val="00B0F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2BBB07-1A75-471A-8E66-D47C2891EDF7}"/>
              </a:ext>
            </a:extLst>
          </p:cNvPr>
          <p:cNvSpPr txBox="1"/>
          <p:nvPr/>
        </p:nvSpPr>
        <p:spPr>
          <a:xfrm>
            <a:off x="834913" y="2952929"/>
            <a:ext cx="9829799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bg1"/>
                </a:solidFill>
              </a:rPr>
              <a:t>Which marketing activation and investment mix delivers the highest RSV growth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bg1"/>
                </a:solidFill>
              </a:rPr>
              <a:t>How should an investment priority ranking across all levers for markets look like?</a:t>
            </a:r>
            <a:br>
              <a:rPr lang="en-US" sz="2000" dirty="0">
                <a:solidFill>
                  <a:schemeClr val="bg1"/>
                </a:solidFill>
              </a:rPr>
            </a:br>
            <a:endParaRPr lang="en-US" sz="2000" dirty="0">
              <a:solidFill>
                <a:schemeClr val="bg1"/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accent4"/>
                </a:solidFill>
              </a:rPr>
              <a:t>Should we stay with current A&amp;P </a:t>
            </a:r>
            <a:r>
              <a:rPr lang="en-US" dirty="0" err="1">
                <a:solidFill>
                  <a:schemeClr val="accent4"/>
                </a:solidFill>
              </a:rPr>
              <a:t>reco</a:t>
            </a:r>
            <a:r>
              <a:rPr lang="en-US" dirty="0">
                <a:solidFill>
                  <a:schemeClr val="accent4"/>
                </a:solidFill>
              </a:rPr>
              <a:t> 70% Field Marketing : 30% Digital Media or adjust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CH" sz="2000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7578FE-8778-40B1-A6AF-C6DB456CCDDD}"/>
              </a:ext>
            </a:extLst>
          </p:cNvPr>
          <p:cNvSpPr/>
          <p:nvPr/>
        </p:nvSpPr>
        <p:spPr>
          <a:xfrm>
            <a:off x="1389412" y="5192713"/>
            <a:ext cx="8594376" cy="989012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u="sng" dirty="0">
                <a:solidFill>
                  <a:schemeClr val="bg1"/>
                </a:solidFill>
              </a:rPr>
              <a:t>NB</a:t>
            </a:r>
            <a:r>
              <a:rPr lang="de-CH" dirty="0">
                <a:solidFill>
                  <a:schemeClr val="bg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>
                <a:solidFill>
                  <a:schemeClr val="bg1"/>
                </a:solidFill>
              </a:rPr>
              <a:t>20 - 30 wks activation data avaialbility (70% accuracy level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>
                <a:solidFill>
                  <a:schemeClr val="bg1"/>
                </a:solidFill>
              </a:rPr>
              <a:t>Simplified approach focusing on output </a:t>
            </a:r>
            <a:r>
              <a:rPr lang="de-CH" dirty="0">
                <a:solidFill>
                  <a:schemeClr val="bg1"/>
                </a:solidFill>
              </a:rPr>
              <a:t>volume uplift per lever</a:t>
            </a:r>
          </a:p>
        </p:txBody>
      </p:sp>
    </p:spTree>
    <p:extLst>
      <p:ext uri="{BB962C8B-B14F-4D97-AF65-F5344CB8AC3E}">
        <p14:creationId xmlns:p14="http://schemas.microsoft.com/office/powerpoint/2010/main" val="11602557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B13106D-429F-447D-B32D-FEF63CDFF1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0830510"/>
              </p:ext>
            </p:extLst>
          </p:nvPr>
        </p:nvGraphicFramePr>
        <p:xfrm>
          <a:off x="558800" y="-240678"/>
          <a:ext cx="11352783" cy="54933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A0EF8DC-3F0A-4E42-8B7A-C487560D0AF6}"/>
              </a:ext>
            </a:extLst>
          </p:cNvPr>
          <p:cNvSpPr/>
          <p:nvPr/>
        </p:nvSpPr>
        <p:spPr>
          <a:xfrm>
            <a:off x="1616264" y="3468531"/>
            <a:ext cx="4855656" cy="58477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" descr="Image result for kind logo">
            <a:extLst>
              <a:ext uri="{FF2B5EF4-FFF2-40B4-BE49-F238E27FC236}">
                <a16:creationId xmlns:a16="http://schemas.microsoft.com/office/drawing/2014/main" id="{7A9BA9E6-8642-4DB2-8129-90D511271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6" y="5863"/>
            <a:ext cx="1108997" cy="74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B449EB5-0520-4696-A539-36177EAFBA6D}"/>
              </a:ext>
            </a:extLst>
          </p:cNvPr>
          <p:cNvSpPr txBox="1">
            <a:spLocks/>
          </p:cNvSpPr>
          <p:nvPr/>
        </p:nvSpPr>
        <p:spPr>
          <a:xfrm>
            <a:off x="1616264" y="132549"/>
            <a:ext cx="8857131" cy="890305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BFDF9BC-5B51-46B0-A54B-44E644DA0AD7}"/>
              </a:ext>
            </a:extLst>
          </p:cNvPr>
          <p:cNvSpPr txBox="1">
            <a:spLocks/>
          </p:cNvSpPr>
          <p:nvPr/>
        </p:nvSpPr>
        <p:spPr>
          <a:xfrm>
            <a:off x="1395044" y="-7707"/>
            <a:ext cx="9729204" cy="890305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600" dirty="0"/>
              <a:t>3 step approach</a:t>
            </a:r>
          </a:p>
        </p:txBody>
      </p:sp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FE0F9D6A-C09D-4A94-9689-00E9865170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2398" y="4198323"/>
            <a:ext cx="773299" cy="773299"/>
          </a:xfrm>
          <a:prstGeom prst="rect">
            <a:avLst/>
          </a:prstGeom>
        </p:spPr>
      </p:pic>
      <p:pic>
        <p:nvPicPr>
          <p:cNvPr id="22" name="Picture 21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8BB8C0-8766-4487-9FA5-366490B8F54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1512" y="4198323"/>
            <a:ext cx="777240" cy="777240"/>
          </a:xfrm>
          <a:prstGeom prst="rect">
            <a:avLst/>
          </a:prstGeom>
        </p:spPr>
      </p:pic>
      <p:pic>
        <p:nvPicPr>
          <p:cNvPr id="23" name="Picture 2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ADE285-4B6B-4316-B5AD-8885E5335C8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56955" y="4198323"/>
            <a:ext cx="777240" cy="77724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32465AF7-2C71-4061-9902-E611C5899CA7}"/>
              </a:ext>
            </a:extLst>
          </p:cNvPr>
          <p:cNvSpPr txBox="1"/>
          <p:nvPr/>
        </p:nvSpPr>
        <p:spPr>
          <a:xfrm>
            <a:off x="833733" y="5315156"/>
            <a:ext cx="116727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>
                <a:solidFill>
                  <a:schemeClr val="bg1"/>
                </a:solidFill>
              </a:rPr>
              <a:t>(56 Weeks)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5D15BA-24C9-4FAF-AD85-B89F88C0F27B}"/>
              </a:ext>
            </a:extLst>
          </p:cNvPr>
          <p:cNvGrpSpPr/>
          <p:nvPr/>
        </p:nvGrpSpPr>
        <p:grpSpPr>
          <a:xfrm>
            <a:off x="1405860" y="1903825"/>
            <a:ext cx="1240142" cy="1192994"/>
            <a:chOff x="1358092" y="1379530"/>
            <a:chExt cx="1240142" cy="119299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1E05D03-28E7-4A0D-8EA2-1F10AF8C6065}"/>
                </a:ext>
              </a:extLst>
            </p:cNvPr>
            <p:cNvSpPr/>
            <p:nvPr/>
          </p:nvSpPr>
          <p:spPr>
            <a:xfrm>
              <a:off x="1358092" y="1379530"/>
              <a:ext cx="1240142" cy="119299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37" name="Freeform 135">
              <a:extLst>
                <a:ext uri="{FF2B5EF4-FFF2-40B4-BE49-F238E27FC236}">
                  <a16:creationId xmlns:a16="http://schemas.microsoft.com/office/drawing/2014/main" id="{B16E7EF7-1E30-458D-BB9B-695EFF1D01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4570" y="1645215"/>
              <a:ext cx="727186" cy="707692"/>
            </a:xfrm>
            <a:custGeom>
              <a:avLst/>
              <a:gdLst/>
              <a:ahLst/>
              <a:cxnLst>
                <a:cxn ang="0">
                  <a:pos x="13" y="39"/>
                </a:cxn>
                <a:cxn ang="0">
                  <a:pos x="8" y="39"/>
                </a:cxn>
                <a:cxn ang="0">
                  <a:pos x="0" y="33"/>
                </a:cxn>
                <a:cxn ang="0">
                  <a:pos x="5" y="19"/>
                </a:cxn>
                <a:cxn ang="0">
                  <a:pos x="15" y="22"/>
                </a:cxn>
                <a:cxn ang="0">
                  <a:pos x="20" y="21"/>
                </a:cxn>
                <a:cxn ang="0">
                  <a:pos x="20" y="24"/>
                </a:cxn>
                <a:cxn ang="0">
                  <a:pos x="23" y="34"/>
                </a:cxn>
                <a:cxn ang="0">
                  <a:pos x="13" y="39"/>
                </a:cxn>
                <a:cxn ang="0">
                  <a:pos x="15" y="19"/>
                </a:cxn>
                <a:cxn ang="0">
                  <a:pos x="5" y="9"/>
                </a:cxn>
                <a:cxn ang="0">
                  <a:pos x="15" y="0"/>
                </a:cxn>
                <a:cxn ang="0">
                  <a:pos x="25" y="9"/>
                </a:cxn>
                <a:cxn ang="0">
                  <a:pos x="15" y="19"/>
                </a:cxn>
                <a:cxn ang="0">
                  <a:pos x="53" y="68"/>
                </a:cxn>
                <a:cxn ang="0">
                  <a:pos x="20" y="68"/>
                </a:cxn>
                <a:cxn ang="0">
                  <a:pos x="10" y="58"/>
                </a:cxn>
                <a:cxn ang="0">
                  <a:pos x="23" y="36"/>
                </a:cxn>
                <a:cxn ang="0">
                  <a:pos x="37" y="41"/>
                </a:cxn>
                <a:cxn ang="0">
                  <a:pos x="50" y="36"/>
                </a:cxn>
                <a:cxn ang="0">
                  <a:pos x="64" y="58"/>
                </a:cxn>
                <a:cxn ang="0">
                  <a:pos x="53" y="68"/>
                </a:cxn>
                <a:cxn ang="0">
                  <a:pos x="37" y="39"/>
                </a:cxn>
                <a:cxn ang="0">
                  <a:pos x="22" y="24"/>
                </a:cxn>
                <a:cxn ang="0">
                  <a:pos x="37" y="9"/>
                </a:cxn>
                <a:cxn ang="0">
                  <a:pos x="51" y="24"/>
                </a:cxn>
                <a:cxn ang="0">
                  <a:pos x="37" y="39"/>
                </a:cxn>
                <a:cxn ang="0">
                  <a:pos x="59" y="19"/>
                </a:cxn>
                <a:cxn ang="0">
                  <a:pos x="49" y="9"/>
                </a:cxn>
                <a:cxn ang="0">
                  <a:pos x="59" y="0"/>
                </a:cxn>
                <a:cxn ang="0">
                  <a:pos x="68" y="9"/>
                </a:cxn>
                <a:cxn ang="0">
                  <a:pos x="59" y="19"/>
                </a:cxn>
                <a:cxn ang="0">
                  <a:pos x="66" y="39"/>
                </a:cxn>
                <a:cxn ang="0">
                  <a:pos x="61" y="39"/>
                </a:cxn>
                <a:cxn ang="0">
                  <a:pos x="51" y="34"/>
                </a:cxn>
                <a:cxn ang="0">
                  <a:pos x="54" y="24"/>
                </a:cxn>
                <a:cxn ang="0">
                  <a:pos x="54" y="21"/>
                </a:cxn>
                <a:cxn ang="0">
                  <a:pos x="59" y="22"/>
                </a:cxn>
                <a:cxn ang="0">
                  <a:pos x="69" y="19"/>
                </a:cxn>
                <a:cxn ang="0">
                  <a:pos x="73" y="33"/>
                </a:cxn>
                <a:cxn ang="0">
                  <a:pos x="66" y="39"/>
                </a:cxn>
              </a:cxnLst>
              <a:rect l="0" t="0" r="r" b="b"/>
              <a:pathLst>
                <a:path w="73" h="68">
                  <a:moveTo>
                    <a:pt x="13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" y="39"/>
                    <a:pt x="0" y="37"/>
                    <a:pt x="0" y="33"/>
                  </a:cubicBezTo>
                  <a:cubicBezTo>
                    <a:pt x="0" y="29"/>
                    <a:pt x="0" y="19"/>
                    <a:pt x="5" y="19"/>
                  </a:cubicBezTo>
                  <a:cubicBezTo>
                    <a:pt x="6" y="19"/>
                    <a:pt x="10" y="22"/>
                    <a:pt x="15" y="22"/>
                  </a:cubicBezTo>
                  <a:cubicBezTo>
                    <a:pt x="17" y="22"/>
                    <a:pt x="18" y="22"/>
                    <a:pt x="20" y="21"/>
                  </a:cubicBezTo>
                  <a:cubicBezTo>
                    <a:pt x="20" y="22"/>
                    <a:pt x="20" y="23"/>
                    <a:pt x="20" y="24"/>
                  </a:cubicBezTo>
                  <a:cubicBezTo>
                    <a:pt x="20" y="27"/>
                    <a:pt x="21" y="31"/>
                    <a:pt x="23" y="34"/>
                  </a:cubicBezTo>
                  <a:cubicBezTo>
                    <a:pt x="19" y="34"/>
                    <a:pt x="15" y="36"/>
                    <a:pt x="13" y="39"/>
                  </a:cubicBezTo>
                  <a:close/>
                  <a:moveTo>
                    <a:pt x="15" y="19"/>
                  </a:moveTo>
                  <a:cubicBezTo>
                    <a:pt x="10" y="19"/>
                    <a:pt x="5" y="15"/>
                    <a:pt x="5" y="9"/>
                  </a:cubicBezTo>
                  <a:cubicBezTo>
                    <a:pt x="5" y="4"/>
                    <a:pt x="10" y="0"/>
                    <a:pt x="15" y="0"/>
                  </a:cubicBezTo>
                  <a:cubicBezTo>
                    <a:pt x="20" y="0"/>
                    <a:pt x="25" y="4"/>
                    <a:pt x="25" y="9"/>
                  </a:cubicBezTo>
                  <a:cubicBezTo>
                    <a:pt x="25" y="15"/>
                    <a:pt x="20" y="19"/>
                    <a:pt x="15" y="19"/>
                  </a:cubicBezTo>
                  <a:close/>
                  <a:moveTo>
                    <a:pt x="53" y="68"/>
                  </a:moveTo>
                  <a:cubicBezTo>
                    <a:pt x="20" y="68"/>
                    <a:pt x="20" y="68"/>
                    <a:pt x="20" y="68"/>
                  </a:cubicBezTo>
                  <a:cubicBezTo>
                    <a:pt x="14" y="68"/>
                    <a:pt x="10" y="64"/>
                    <a:pt x="10" y="58"/>
                  </a:cubicBezTo>
                  <a:cubicBezTo>
                    <a:pt x="10" y="49"/>
                    <a:pt x="12" y="36"/>
                    <a:pt x="23" y="36"/>
                  </a:cubicBezTo>
                  <a:cubicBezTo>
                    <a:pt x="25" y="36"/>
                    <a:pt x="29" y="41"/>
                    <a:pt x="37" y="41"/>
                  </a:cubicBezTo>
                  <a:cubicBezTo>
                    <a:pt x="44" y="41"/>
                    <a:pt x="49" y="36"/>
                    <a:pt x="50" y="36"/>
                  </a:cubicBezTo>
                  <a:cubicBezTo>
                    <a:pt x="62" y="36"/>
                    <a:pt x="64" y="49"/>
                    <a:pt x="64" y="58"/>
                  </a:cubicBezTo>
                  <a:cubicBezTo>
                    <a:pt x="64" y="64"/>
                    <a:pt x="60" y="68"/>
                    <a:pt x="53" y="68"/>
                  </a:cubicBezTo>
                  <a:close/>
                  <a:moveTo>
                    <a:pt x="37" y="39"/>
                  </a:moveTo>
                  <a:cubicBezTo>
                    <a:pt x="29" y="39"/>
                    <a:pt x="22" y="32"/>
                    <a:pt x="22" y="24"/>
                  </a:cubicBezTo>
                  <a:cubicBezTo>
                    <a:pt x="22" y="16"/>
                    <a:pt x="29" y="9"/>
                    <a:pt x="37" y="9"/>
                  </a:cubicBezTo>
                  <a:cubicBezTo>
                    <a:pt x="45" y="9"/>
                    <a:pt x="51" y="16"/>
                    <a:pt x="51" y="24"/>
                  </a:cubicBezTo>
                  <a:cubicBezTo>
                    <a:pt x="51" y="32"/>
                    <a:pt x="45" y="39"/>
                    <a:pt x="37" y="39"/>
                  </a:cubicBezTo>
                  <a:close/>
                  <a:moveTo>
                    <a:pt x="59" y="19"/>
                  </a:moveTo>
                  <a:cubicBezTo>
                    <a:pt x="53" y="19"/>
                    <a:pt x="49" y="15"/>
                    <a:pt x="49" y="9"/>
                  </a:cubicBezTo>
                  <a:cubicBezTo>
                    <a:pt x="49" y="4"/>
                    <a:pt x="53" y="0"/>
                    <a:pt x="59" y="0"/>
                  </a:cubicBezTo>
                  <a:cubicBezTo>
                    <a:pt x="64" y="0"/>
                    <a:pt x="68" y="4"/>
                    <a:pt x="68" y="9"/>
                  </a:cubicBezTo>
                  <a:cubicBezTo>
                    <a:pt x="68" y="15"/>
                    <a:pt x="64" y="19"/>
                    <a:pt x="59" y="19"/>
                  </a:cubicBezTo>
                  <a:close/>
                  <a:moveTo>
                    <a:pt x="66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58" y="36"/>
                    <a:pt x="55" y="34"/>
                    <a:pt x="51" y="34"/>
                  </a:cubicBezTo>
                  <a:cubicBezTo>
                    <a:pt x="53" y="31"/>
                    <a:pt x="54" y="27"/>
                    <a:pt x="54" y="24"/>
                  </a:cubicBezTo>
                  <a:cubicBezTo>
                    <a:pt x="54" y="23"/>
                    <a:pt x="54" y="22"/>
                    <a:pt x="54" y="21"/>
                  </a:cubicBezTo>
                  <a:cubicBezTo>
                    <a:pt x="55" y="22"/>
                    <a:pt x="57" y="22"/>
                    <a:pt x="59" y="22"/>
                  </a:cubicBezTo>
                  <a:cubicBezTo>
                    <a:pt x="64" y="22"/>
                    <a:pt x="68" y="19"/>
                    <a:pt x="69" y="19"/>
                  </a:cubicBezTo>
                  <a:cubicBezTo>
                    <a:pt x="73" y="19"/>
                    <a:pt x="73" y="29"/>
                    <a:pt x="73" y="33"/>
                  </a:cubicBezTo>
                  <a:cubicBezTo>
                    <a:pt x="73" y="37"/>
                    <a:pt x="70" y="39"/>
                    <a:pt x="66" y="3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2ECBE3D-182B-487C-A862-61A7C41A3597}"/>
              </a:ext>
            </a:extLst>
          </p:cNvPr>
          <p:cNvGrpSpPr/>
          <p:nvPr/>
        </p:nvGrpSpPr>
        <p:grpSpPr>
          <a:xfrm>
            <a:off x="5317339" y="1910092"/>
            <a:ext cx="1243584" cy="1192994"/>
            <a:chOff x="5472238" y="1440981"/>
            <a:chExt cx="1243584" cy="119299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BA48AE8B-1EE5-4E38-8071-958E92772C2E}"/>
                </a:ext>
              </a:extLst>
            </p:cNvPr>
            <p:cNvSpPr/>
            <p:nvPr/>
          </p:nvSpPr>
          <p:spPr>
            <a:xfrm>
              <a:off x="5472238" y="1440981"/>
              <a:ext cx="1243584" cy="119299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13C25FCF-2E6C-45AE-B219-09C3F1360F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0240" y="1670051"/>
              <a:ext cx="731520" cy="704088"/>
            </a:xfrm>
            <a:custGeom>
              <a:avLst/>
              <a:gdLst/>
              <a:ahLst/>
              <a:cxnLst>
                <a:cxn ang="0">
                  <a:pos x="0" y="192"/>
                </a:cxn>
                <a:cxn ang="0">
                  <a:pos x="255" y="135"/>
                </a:cxn>
                <a:cxn ang="0">
                  <a:pos x="277" y="122"/>
                </a:cxn>
                <a:cxn ang="0">
                  <a:pos x="303" y="116"/>
                </a:cxn>
                <a:cxn ang="0">
                  <a:pos x="296" y="105"/>
                </a:cxn>
                <a:cxn ang="0">
                  <a:pos x="278" y="89"/>
                </a:cxn>
                <a:cxn ang="0">
                  <a:pos x="265" y="90"/>
                </a:cxn>
                <a:cxn ang="0">
                  <a:pos x="256" y="82"/>
                </a:cxn>
                <a:cxn ang="0">
                  <a:pos x="231" y="73"/>
                </a:cxn>
                <a:cxn ang="0">
                  <a:pos x="234" y="98"/>
                </a:cxn>
                <a:cxn ang="0">
                  <a:pos x="224" y="118"/>
                </a:cxn>
                <a:cxn ang="0">
                  <a:pos x="205" y="103"/>
                </a:cxn>
                <a:cxn ang="0">
                  <a:pos x="175" y="89"/>
                </a:cxn>
                <a:cxn ang="0">
                  <a:pos x="183" y="68"/>
                </a:cxn>
                <a:cxn ang="0">
                  <a:pos x="212" y="58"/>
                </a:cxn>
                <a:cxn ang="0">
                  <a:pos x="207" y="47"/>
                </a:cxn>
                <a:cxn ang="0">
                  <a:pos x="188" y="50"/>
                </a:cxn>
                <a:cxn ang="0">
                  <a:pos x="168" y="37"/>
                </a:cxn>
                <a:cxn ang="0">
                  <a:pos x="171" y="52"/>
                </a:cxn>
                <a:cxn ang="0">
                  <a:pos x="157" y="52"/>
                </a:cxn>
                <a:cxn ang="0">
                  <a:pos x="141" y="40"/>
                </a:cxn>
                <a:cxn ang="0">
                  <a:pos x="126" y="47"/>
                </a:cxn>
                <a:cxn ang="0">
                  <a:pos x="143" y="51"/>
                </a:cxn>
                <a:cxn ang="0">
                  <a:pos x="131" y="58"/>
                </a:cxn>
                <a:cxn ang="0">
                  <a:pos x="56" y="107"/>
                </a:cxn>
                <a:cxn ang="0">
                  <a:pos x="65" y="118"/>
                </a:cxn>
                <a:cxn ang="0">
                  <a:pos x="79" y="135"/>
                </a:cxn>
                <a:cxn ang="0">
                  <a:pos x="74" y="158"/>
                </a:cxn>
                <a:cxn ang="0">
                  <a:pos x="88" y="185"/>
                </a:cxn>
                <a:cxn ang="0">
                  <a:pos x="108" y="214"/>
                </a:cxn>
                <a:cxn ang="0">
                  <a:pos x="118" y="227"/>
                </a:cxn>
                <a:cxn ang="0">
                  <a:pos x="105" y="197"/>
                </a:cxn>
                <a:cxn ang="0">
                  <a:pos x="125" y="225"/>
                </a:cxn>
                <a:cxn ang="0">
                  <a:pos x="150" y="255"/>
                </a:cxn>
                <a:cxn ang="0">
                  <a:pos x="184" y="269"/>
                </a:cxn>
                <a:cxn ang="0">
                  <a:pos x="213" y="290"/>
                </a:cxn>
                <a:cxn ang="0">
                  <a:pos x="224" y="288"/>
                </a:cxn>
                <a:cxn ang="0">
                  <a:pos x="212" y="268"/>
                </a:cxn>
                <a:cxn ang="0">
                  <a:pos x="197" y="262"/>
                </a:cxn>
                <a:cxn ang="0">
                  <a:pos x="194" y="239"/>
                </a:cxn>
                <a:cxn ang="0">
                  <a:pos x="171" y="250"/>
                </a:cxn>
                <a:cxn ang="0">
                  <a:pos x="168" y="210"/>
                </a:cxn>
                <a:cxn ang="0">
                  <a:pos x="184" y="206"/>
                </a:cxn>
                <a:cxn ang="0">
                  <a:pos x="196" y="202"/>
                </a:cxn>
                <a:cxn ang="0">
                  <a:pos x="214" y="211"/>
                </a:cxn>
                <a:cxn ang="0">
                  <a:pos x="221" y="205"/>
                </a:cxn>
                <a:cxn ang="0">
                  <a:pos x="234" y="179"/>
                </a:cxn>
                <a:cxn ang="0">
                  <a:pos x="233" y="171"/>
                </a:cxn>
                <a:cxn ang="0">
                  <a:pos x="252" y="157"/>
                </a:cxn>
                <a:cxn ang="0">
                  <a:pos x="266" y="143"/>
                </a:cxn>
                <a:cxn ang="0">
                  <a:pos x="273" y="131"/>
                </a:cxn>
                <a:cxn ang="0">
                  <a:pos x="255" y="135"/>
                </a:cxn>
                <a:cxn ang="0">
                  <a:pos x="295" y="298"/>
                </a:cxn>
                <a:cxn ang="0">
                  <a:pos x="272" y="288"/>
                </a:cxn>
                <a:cxn ang="0">
                  <a:pos x="251" y="288"/>
                </a:cxn>
                <a:cxn ang="0">
                  <a:pos x="236" y="286"/>
                </a:cxn>
                <a:cxn ang="0">
                  <a:pos x="230" y="307"/>
                </a:cxn>
                <a:cxn ang="0">
                  <a:pos x="223" y="335"/>
                </a:cxn>
                <a:cxn ang="0">
                  <a:pos x="308" y="302"/>
                </a:cxn>
              </a:cxnLst>
              <a:rect l="0" t="0" r="r" b="b"/>
              <a:pathLst>
                <a:path w="384" h="384">
                  <a:moveTo>
                    <a:pt x="384" y="192"/>
                  </a:moveTo>
                  <a:cubicBezTo>
                    <a:pt x="384" y="298"/>
                    <a:pt x="298" y="384"/>
                    <a:pt x="192" y="384"/>
                  </a:cubicBezTo>
                  <a:cubicBezTo>
                    <a:pt x="86" y="384"/>
                    <a:pt x="0" y="298"/>
                    <a:pt x="0" y="192"/>
                  </a:cubicBezTo>
                  <a:cubicBezTo>
                    <a:pt x="0" y="86"/>
                    <a:pt x="86" y="0"/>
                    <a:pt x="192" y="0"/>
                  </a:cubicBezTo>
                  <a:cubicBezTo>
                    <a:pt x="298" y="0"/>
                    <a:pt x="384" y="86"/>
                    <a:pt x="384" y="192"/>
                  </a:cubicBezTo>
                  <a:close/>
                  <a:moveTo>
                    <a:pt x="255" y="135"/>
                  </a:moveTo>
                  <a:cubicBezTo>
                    <a:pt x="256" y="135"/>
                    <a:pt x="257" y="130"/>
                    <a:pt x="258" y="129"/>
                  </a:cubicBezTo>
                  <a:cubicBezTo>
                    <a:pt x="260" y="127"/>
                    <a:pt x="262" y="126"/>
                    <a:pt x="264" y="125"/>
                  </a:cubicBezTo>
                  <a:cubicBezTo>
                    <a:pt x="268" y="124"/>
                    <a:pt x="272" y="123"/>
                    <a:pt x="277" y="122"/>
                  </a:cubicBezTo>
                  <a:cubicBezTo>
                    <a:pt x="281" y="121"/>
                    <a:pt x="286" y="121"/>
                    <a:pt x="289" y="125"/>
                  </a:cubicBezTo>
                  <a:cubicBezTo>
                    <a:pt x="289" y="124"/>
                    <a:pt x="295" y="119"/>
                    <a:pt x="295" y="119"/>
                  </a:cubicBezTo>
                  <a:cubicBezTo>
                    <a:pt x="298" y="118"/>
                    <a:pt x="301" y="118"/>
                    <a:pt x="303" y="116"/>
                  </a:cubicBezTo>
                  <a:cubicBezTo>
                    <a:pt x="303" y="115"/>
                    <a:pt x="303" y="110"/>
                    <a:pt x="303" y="110"/>
                  </a:cubicBezTo>
                  <a:cubicBezTo>
                    <a:pt x="299" y="111"/>
                    <a:pt x="298" y="107"/>
                    <a:pt x="297" y="103"/>
                  </a:cubicBezTo>
                  <a:cubicBezTo>
                    <a:pt x="297" y="104"/>
                    <a:pt x="297" y="104"/>
                    <a:pt x="296" y="105"/>
                  </a:cubicBezTo>
                  <a:cubicBezTo>
                    <a:pt x="296" y="102"/>
                    <a:pt x="291" y="104"/>
                    <a:pt x="290" y="104"/>
                  </a:cubicBezTo>
                  <a:cubicBezTo>
                    <a:pt x="284" y="102"/>
                    <a:pt x="285" y="98"/>
                    <a:pt x="283" y="94"/>
                  </a:cubicBezTo>
                  <a:cubicBezTo>
                    <a:pt x="282" y="92"/>
                    <a:pt x="279" y="91"/>
                    <a:pt x="278" y="89"/>
                  </a:cubicBezTo>
                  <a:cubicBezTo>
                    <a:pt x="277" y="87"/>
                    <a:pt x="277" y="84"/>
                    <a:pt x="274" y="84"/>
                  </a:cubicBezTo>
                  <a:cubicBezTo>
                    <a:pt x="273" y="84"/>
                    <a:pt x="270" y="89"/>
                    <a:pt x="270" y="89"/>
                  </a:cubicBezTo>
                  <a:cubicBezTo>
                    <a:pt x="267" y="88"/>
                    <a:pt x="266" y="89"/>
                    <a:pt x="265" y="90"/>
                  </a:cubicBezTo>
                  <a:cubicBezTo>
                    <a:pt x="263" y="91"/>
                    <a:pt x="262" y="91"/>
                    <a:pt x="260" y="92"/>
                  </a:cubicBezTo>
                  <a:cubicBezTo>
                    <a:pt x="265" y="90"/>
                    <a:pt x="258" y="88"/>
                    <a:pt x="256" y="88"/>
                  </a:cubicBezTo>
                  <a:cubicBezTo>
                    <a:pt x="260" y="87"/>
                    <a:pt x="258" y="83"/>
                    <a:pt x="256" y="82"/>
                  </a:cubicBezTo>
                  <a:cubicBezTo>
                    <a:pt x="256" y="82"/>
                    <a:pt x="257" y="82"/>
                    <a:pt x="257" y="82"/>
                  </a:cubicBezTo>
                  <a:cubicBezTo>
                    <a:pt x="257" y="79"/>
                    <a:pt x="250" y="77"/>
                    <a:pt x="247" y="76"/>
                  </a:cubicBezTo>
                  <a:cubicBezTo>
                    <a:pt x="245" y="74"/>
                    <a:pt x="233" y="72"/>
                    <a:pt x="231" y="73"/>
                  </a:cubicBezTo>
                  <a:cubicBezTo>
                    <a:pt x="228" y="75"/>
                    <a:pt x="231" y="80"/>
                    <a:pt x="231" y="83"/>
                  </a:cubicBezTo>
                  <a:cubicBezTo>
                    <a:pt x="232" y="86"/>
                    <a:pt x="228" y="86"/>
                    <a:pt x="228" y="89"/>
                  </a:cubicBezTo>
                  <a:cubicBezTo>
                    <a:pt x="228" y="93"/>
                    <a:pt x="236" y="92"/>
                    <a:pt x="234" y="98"/>
                  </a:cubicBezTo>
                  <a:cubicBezTo>
                    <a:pt x="233" y="102"/>
                    <a:pt x="228" y="102"/>
                    <a:pt x="226" y="105"/>
                  </a:cubicBezTo>
                  <a:cubicBezTo>
                    <a:pt x="224" y="108"/>
                    <a:pt x="227" y="112"/>
                    <a:pt x="229" y="114"/>
                  </a:cubicBezTo>
                  <a:cubicBezTo>
                    <a:pt x="231" y="115"/>
                    <a:pt x="225" y="118"/>
                    <a:pt x="224" y="118"/>
                  </a:cubicBezTo>
                  <a:cubicBezTo>
                    <a:pt x="220" y="120"/>
                    <a:pt x="217" y="114"/>
                    <a:pt x="216" y="110"/>
                  </a:cubicBezTo>
                  <a:cubicBezTo>
                    <a:pt x="215" y="108"/>
                    <a:pt x="215" y="104"/>
                    <a:pt x="212" y="103"/>
                  </a:cubicBezTo>
                  <a:cubicBezTo>
                    <a:pt x="210" y="102"/>
                    <a:pt x="206" y="102"/>
                    <a:pt x="205" y="103"/>
                  </a:cubicBezTo>
                  <a:cubicBezTo>
                    <a:pt x="203" y="99"/>
                    <a:pt x="198" y="98"/>
                    <a:pt x="194" y="97"/>
                  </a:cubicBezTo>
                  <a:cubicBezTo>
                    <a:pt x="189" y="95"/>
                    <a:pt x="185" y="95"/>
                    <a:pt x="180" y="96"/>
                  </a:cubicBezTo>
                  <a:cubicBezTo>
                    <a:pt x="181" y="95"/>
                    <a:pt x="179" y="88"/>
                    <a:pt x="175" y="89"/>
                  </a:cubicBezTo>
                  <a:cubicBezTo>
                    <a:pt x="176" y="86"/>
                    <a:pt x="176" y="84"/>
                    <a:pt x="176" y="81"/>
                  </a:cubicBezTo>
                  <a:cubicBezTo>
                    <a:pt x="177" y="79"/>
                    <a:pt x="178" y="77"/>
                    <a:pt x="179" y="75"/>
                  </a:cubicBezTo>
                  <a:cubicBezTo>
                    <a:pt x="180" y="74"/>
                    <a:pt x="185" y="69"/>
                    <a:pt x="183" y="68"/>
                  </a:cubicBezTo>
                  <a:cubicBezTo>
                    <a:pt x="188" y="69"/>
                    <a:pt x="193" y="69"/>
                    <a:pt x="196" y="66"/>
                  </a:cubicBezTo>
                  <a:cubicBezTo>
                    <a:pt x="198" y="63"/>
                    <a:pt x="199" y="60"/>
                    <a:pt x="202" y="57"/>
                  </a:cubicBezTo>
                  <a:cubicBezTo>
                    <a:pt x="205" y="53"/>
                    <a:pt x="209" y="58"/>
                    <a:pt x="212" y="58"/>
                  </a:cubicBezTo>
                  <a:cubicBezTo>
                    <a:pt x="217" y="59"/>
                    <a:pt x="217" y="53"/>
                    <a:pt x="214" y="51"/>
                  </a:cubicBezTo>
                  <a:cubicBezTo>
                    <a:pt x="218" y="51"/>
                    <a:pt x="215" y="45"/>
                    <a:pt x="213" y="44"/>
                  </a:cubicBezTo>
                  <a:cubicBezTo>
                    <a:pt x="211" y="43"/>
                    <a:pt x="202" y="46"/>
                    <a:pt x="207" y="47"/>
                  </a:cubicBezTo>
                  <a:cubicBezTo>
                    <a:pt x="206" y="47"/>
                    <a:pt x="200" y="59"/>
                    <a:pt x="196" y="53"/>
                  </a:cubicBezTo>
                  <a:cubicBezTo>
                    <a:pt x="195" y="52"/>
                    <a:pt x="195" y="47"/>
                    <a:pt x="193" y="46"/>
                  </a:cubicBezTo>
                  <a:cubicBezTo>
                    <a:pt x="190" y="46"/>
                    <a:pt x="189" y="49"/>
                    <a:pt x="188" y="50"/>
                  </a:cubicBezTo>
                  <a:cubicBezTo>
                    <a:pt x="190" y="47"/>
                    <a:pt x="181" y="45"/>
                    <a:pt x="180" y="44"/>
                  </a:cubicBezTo>
                  <a:cubicBezTo>
                    <a:pt x="183" y="42"/>
                    <a:pt x="180" y="39"/>
                    <a:pt x="178" y="38"/>
                  </a:cubicBezTo>
                  <a:cubicBezTo>
                    <a:pt x="176" y="36"/>
                    <a:pt x="169" y="35"/>
                    <a:pt x="168" y="37"/>
                  </a:cubicBezTo>
                  <a:cubicBezTo>
                    <a:pt x="163" y="43"/>
                    <a:pt x="173" y="44"/>
                    <a:pt x="175" y="45"/>
                  </a:cubicBezTo>
                  <a:cubicBezTo>
                    <a:pt x="176" y="46"/>
                    <a:pt x="179" y="48"/>
                    <a:pt x="177" y="49"/>
                  </a:cubicBezTo>
                  <a:cubicBezTo>
                    <a:pt x="176" y="50"/>
                    <a:pt x="171" y="51"/>
                    <a:pt x="171" y="52"/>
                  </a:cubicBezTo>
                  <a:cubicBezTo>
                    <a:pt x="169" y="54"/>
                    <a:pt x="172" y="57"/>
                    <a:pt x="170" y="59"/>
                  </a:cubicBezTo>
                  <a:cubicBezTo>
                    <a:pt x="168" y="57"/>
                    <a:pt x="168" y="53"/>
                    <a:pt x="166" y="50"/>
                  </a:cubicBezTo>
                  <a:cubicBezTo>
                    <a:pt x="168" y="53"/>
                    <a:pt x="157" y="52"/>
                    <a:pt x="157" y="52"/>
                  </a:cubicBezTo>
                  <a:cubicBezTo>
                    <a:pt x="154" y="52"/>
                    <a:pt x="148" y="54"/>
                    <a:pt x="145" y="50"/>
                  </a:cubicBezTo>
                  <a:cubicBezTo>
                    <a:pt x="144" y="49"/>
                    <a:pt x="144" y="44"/>
                    <a:pt x="146" y="45"/>
                  </a:cubicBezTo>
                  <a:cubicBezTo>
                    <a:pt x="144" y="43"/>
                    <a:pt x="142" y="41"/>
                    <a:pt x="141" y="40"/>
                  </a:cubicBezTo>
                  <a:cubicBezTo>
                    <a:pt x="132" y="43"/>
                    <a:pt x="125" y="47"/>
                    <a:pt x="117" y="51"/>
                  </a:cubicBezTo>
                  <a:cubicBezTo>
                    <a:pt x="118" y="51"/>
                    <a:pt x="119" y="51"/>
                    <a:pt x="120" y="50"/>
                  </a:cubicBezTo>
                  <a:cubicBezTo>
                    <a:pt x="122" y="50"/>
                    <a:pt x="124" y="48"/>
                    <a:pt x="126" y="47"/>
                  </a:cubicBezTo>
                  <a:cubicBezTo>
                    <a:pt x="128" y="46"/>
                    <a:pt x="134" y="43"/>
                    <a:pt x="136" y="46"/>
                  </a:cubicBezTo>
                  <a:cubicBezTo>
                    <a:pt x="137" y="45"/>
                    <a:pt x="137" y="45"/>
                    <a:pt x="138" y="44"/>
                  </a:cubicBezTo>
                  <a:cubicBezTo>
                    <a:pt x="139" y="46"/>
                    <a:pt x="141" y="48"/>
                    <a:pt x="143" y="51"/>
                  </a:cubicBezTo>
                  <a:cubicBezTo>
                    <a:pt x="141" y="50"/>
                    <a:pt x="137" y="50"/>
                    <a:pt x="135" y="50"/>
                  </a:cubicBezTo>
                  <a:cubicBezTo>
                    <a:pt x="133" y="51"/>
                    <a:pt x="130" y="51"/>
                    <a:pt x="130" y="53"/>
                  </a:cubicBezTo>
                  <a:cubicBezTo>
                    <a:pt x="130" y="55"/>
                    <a:pt x="131" y="57"/>
                    <a:pt x="131" y="58"/>
                  </a:cubicBezTo>
                  <a:cubicBezTo>
                    <a:pt x="128" y="56"/>
                    <a:pt x="125" y="52"/>
                    <a:pt x="121" y="51"/>
                  </a:cubicBezTo>
                  <a:cubicBezTo>
                    <a:pt x="119" y="51"/>
                    <a:pt x="117" y="51"/>
                    <a:pt x="115" y="52"/>
                  </a:cubicBezTo>
                  <a:cubicBezTo>
                    <a:pt x="91" y="65"/>
                    <a:pt x="71" y="84"/>
                    <a:pt x="56" y="107"/>
                  </a:cubicBezTo>
                  <a:cubicBezTo>
                    <a:pt x="57" y="108"/>
                    <a:pt x="58" y="109"/>
                    <a:pt x="59" y="109"/>
                  </a:cubicBezTo>
                  <a:cubicBezTo>
                    <a:pt x="62" y="110"/>
                    <a:pt x="59" y="117"/>
                    <a:pt x="64" y="113"/>
                  </a:cubicBezTo>
                  <a:cubicBezTo>
                    <a:pt x="66" y="115"/>
                    <a:pt x="66" y="116"/>
                    <a:pt x="65" y="118"/>
                  </a:cubicBezTo>
                  <a:cubicBezTo>
                    <a:pt x="65" y="118"/>
                    <a:pt x="75" y="124"/>
                    <a:pt x="76" y="125"/>
                  </a:cubicBezTo>
                  <a:cubicBezTo>
                    <a:pt x="78" y="126"/>
                    <a:pt x="80" y="128"/>
                    <a:pt x="81" y="130"/>
                  </a:cubicBezTo>
                  <a:cubicBezTo>
                    <a:pt x="82" y="132"/>
                    <a:pt x="80" y="134"/>
                    <a:pt x="79" y="135"/>
                  </a:cubicBezTo>
                  <a:cubicBezTo>
                    <a:pt x="78" y="134"/>
                    <a:pt x="75" y="130"/>
                    <a:pt x="74" y="131"/>
                  </a:cubicBezTo>
                  <a:cubicBezTo>
                    <a:pt x="73" y="133"/>
                    <a:pt x="74" y="139"/>
                    <a:pt x="77" y="139"/>
                  </a:cubicBezTo>
                  <a:cubicBezTo>
                    <a:pt x="73" y="139"/>
                    <a:pt x="75" y="155"/>
                    <a:pt x="74" y="158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3" y="161"/>
                    <a:pt x="76" y="173"/>
                    <a:pt x="81" y="172"/>
                  </a:cubicBezTo>
                  <a:cubicBezTo>
                    <a:pt x="78" y="172"/>
                    <a:pt x="87" y="184"/>
                    <a:pt x="88" y="185"/>
                  </a:cubicBezTo>
                  <a:cubicBezTo>
                    <a:pt x="91" y="187"/>
                    <a:pt x="95" y="188"/>
                    <a:pt x="97" y="192"/>
                  </a:cubicBezTo>
                  <a:cubicBezTo>
                    <a:pt x="100" y="195"/>
                    <a:pt x="100" y="201"/>
                    <a:pt x="103" y="203"/>
                  </a:cubicBezTo>
                  <a:cubicBezTo>
                    <a:pt x="102" y="206"/>
                    <a:pt x="108" y="210"/>
                    <a:pt x="108" y="214"/>
                  </a:cubicBezTo>
                  <a:cubicBezTo>
                    <a:pt x="108" y="214"/>
                    <a:pt x="107" y="214"/>
                    <a:pt x="107" y="215"/>
                  </a:cubicBezTo>
                  <a:cubicBezTo>
                    <a:pt x="108" y="218"/>
                    <a:pt x="113" y="218"/>
                    <a:pt x="115" y="221"/>
                  </a:cubicBezTo>
                  <a:cubicBezTo>
                    <a:pt x="116" y="223"/>
                    <a:pt x="115" y="228"/>
                    <a:pt x="118" y="227"/>
                  </a:cubicBezTo>
                  <a:cubicBezTo>
                    <a:pt x="118" y="222"/>
                    <a:pt x="115" y="216"/>
                    <a:pt x="112" y="212"/>
                  </a:cubicBezTo>
                  <a:cubicBezTo>
                    <a:pt x="110" y="209"/>
                    <a:pt x="109" y="207"/>
                    <a:pt x="108" y="204"/>
                  </a:cubicBezTo>
                  <a:cubicBezTo>
                    <a:pt x="106" y="202"/>
                    <a:pt x="106" y="199"/>
                    <a:pt x="105" y="197"/>
                  </a:cubicBezTo>
                  <a:cubicBezTo>
                    <a:pt x="106" y="197"/>
                    <a:pt x="112" y="199"/>
                    <a:pt x="111" y="200"/>
                  </a:cubicBezTo>
                  <a:cubicBezTo>
                    <a:pt x="109" y="205"/>
                    <a:pt x="119" y="214"/>
                    <a:pt x="122" y="217"/>
                  </a:cubicBezTo>
                  <a:cubicBezTo>
                    <a:pt x="123" y="218"/>
                    <a:pt x="128" y="225"/>
                    <a:pt x="125" y="225"/>
                  </a:cubicBezTo>
                  <a:cubicBezTo>
                    <a:pt x="129" y="225"/>
                    <a:pt x="133" y="230"/>
                    <a:pt x="135" y="233"/>
                  </a:cubicBezTo>
                  <a:cubicBezTo>
                    <a:pt x="137" y="236"/>
                    <a:pt x="136" y="241"/>
                    <a:pt x="138" y="245"/>
                  </a:cubicBezTo>
                  <a:cubicBezTo>
                    <a:pt x="139" y="250"/>
                    <a:pt x="146" y="252"/>
                    <a:pt x="150" y="255"/>
                  </a:cubicBezTo>
                  <a:cubicBezTo>
                    <a:pt x="154" y="256"/>
                    <a:pt x="157" y="259"/>
                    <a:pt x="160" y="260"/>
                  </a:cubicBezTo>
                  <a:cubicBezTo>
                    <a:pt x="166" y="262"/>
                    <a:pt x="167" y="260"/>
                    <a:pt x="171" y="260"/>
                  </a:cubicBezTo>
                  <a:cubicBezTo>
                    <a:pt x="178" y="259"/>
                    <a:pt x="179" y="266"/>
                    <a:pt x="184" y="269"/>
                  </a:cubicBezTo>
                  <a:cubicBezTo>
                    <a:pt x="187" y="270"/>
                    <a:pt x="194" y="273"/>
                    <a:pt x="198" y="271"/>
                  </a:cubicBezTo>
                  <a:cubicBezTo>
                    <a:pt x="196" y="272"/>
                    <a:pt x="203" y="282"/>
                    <a:pt x="204" y="283"/>
                  </a:cubicBezTo>
                  <a:cubicBezTo>
                    <a:pt x="206" y="286"/>
                    <a:pt x="210" y="287"/>
                    <a:pt x="213" y="290"/>
                  </a:cubicBezTo>
                  <a:cubicBezTo>
                    <a:pt x="213" y="290"/>
                    <a:pt x="214" y="289"/>
                    <a:pt x="214" y="288"/>
                  </a:cubicBezTo>
                  <a:cubicBezTo>
                    <a:pt x="213" y="291"/>
                    <a:pt x="218" y="296"/>
                    <a:pt x="221" y="296"/>
                  </a:cubicBezTo>
                  <a:cubicBezTo>
                    <a:pt x="223" y="295"/>
                    <a:pt x="224" y="290"/>
                    <a:pt x="224" y="288"/>
                  </a:cubicBezTo>
                  <a:cubicBezTo>
                    <a:pt x="219" y="290"/>
                    <a:pt x="215" y="288"/>
                    <a:pt x="212" y="283"/>
                  </a:cubicBezTo>
                  <a:cubicBezTo>
                    <a:pt x="211" y="282"/>
                    <a:pt x="207" y="275"/>
                    <a:pt x="211" y="275"/>
                  </a:cubicBezTo>
                  <a:cubicBezTo>
                    <a:pt x="216" y="275"/>
                    <a:pt x="212" y="271"/>
                    <a:pt x="212" y="268"/>
                  </a:cubicBezTo>
                  <a:cubicBezTo>
                    <a:pt x="211" y="264"/>
                    <a:pt x="208" y="262"/>
                    <a:pt x="206" y="259"/>
                  </a:cubicBezTo>
                  <a:cubicBezTo>
                    <a:pt x="205" y="262"/>
                    <a:pt x="200" y="261"/>
                    <a:pt x="198" y="259"/>
                  </a:cubicBezTo>
                  <a:cubicBezTo>
                    <a:pt x="198" y="259"/>
                    <a:pt x="197" y="261"/>
                    <a:pt x="197" y="262"/>
                  </a:cubicBezTo>
                  <a:cubicBezTo>
                    <a:pt x="196" y="262"/>
                    <a:pt x="195" y="262"/>
                    <a:pt x="194" y="261"/>
                  </a:cubicBezTo>
                  <a:cubicBezTo>
                    <a:pt x="194" y="258"/>
                    <a:pt x="194" y="255"/>
                    <a:pt x="195" y="251"/>
                  </a:cubicBezTo>
                  <a:cubicBezTo>
                    <a:pt x="196" y="247"/>
                    <a:pt x="205" y="238"/>
                    <a:pt x="194" y="239"/>
                  </a:cubicBezTo>
                  <a:cubicBezTo>
                    <a:pt x="190" y="239"/>
                    <a:pt x="188" y="240"/>
                    <a:pt x="187" y="244"/>
                  </a:cubicBezTo>
                  <a:cubicBezTo>
                    <a:pt x="186" y="247"/>
                    <a:pt x="186" y="249"/>
                    <a:pt x="183" y="251"/>
                  </a:cubicBezTo>
                  <a:cubicBezTo>
                    <a:pt x="181" y="252"/>
                    <a:pt x="173" y="251"/>
                    <a:pt x="171" y="250"/>
                  </a:cubicBezTo>
                  <a:cubicBezTo>
                    <a:pt x="166" y="247"/>
                    <a:pt x="163" y="239"/>
                    <a:pt x="163" y="234"/>
                  </a:cubicBezTo>
                  <a:cubicBezTo>
                    <a:pt x="163" y="227"/>
                    <a:pt x="166" y="221"/>
                    <a:pt x="163" y="215"/>
                  </a:cubicBezTo>
                  <a:cubicBezTo>
                    <a:pt x="164" y="213"/>
                    <a:pt x="166" y="211"/>
                    <a:pt x="168" y="210"/>
                  </a:cubicBezTo>
                  <a:cubicBezTo>
                    <a:pt x="169" y="209"/>
                    <a:pt x="171" y="210"/>
                    <a:pt x="172" y="207"/>
                  </a:cubicBezTo>
                  <a:cubicBezTo>
                    <a:pt x="171" y="207"/>
                    <a:pt x="170" y="206"/>
                    <a:pt x="170" y="206"/>
                  </a:cubicBezTo>
                  <a:cubicBezTo>
                    <a:pt x="173" y="208"/>
                    <a:pt x="180" y="203"/>
                    <a:pt x="184" y="206"/>
                  </a:cubicBezTo>
                  <a:cubicBezTo>
                    <a:pt x="186" y="207"/>
                    <a:pt x="188" y="208"/>
                    <a:pt x="189" y="205"/>
                  </a:cubicBezTo>
                  <a:cubicBezTo>
                    <a:pt x="189" y="205"/>
                    <a:pt x="187" y="202"/>
                    <a:pt x="188" y="200"/>
                  </a:cubicBezTo>
                  <a:cubicBezTo>
                    <a:pt x="189" y="204"/>
                    <a:pt x="192" y="205"/>
                    <a:pt x="196" y="202"/>
                  </a:cubicBezTo>
                  <a:cubicBezTo>
                    <a:pt x="197" y="203"/>
                    <a:pt x="201" y="203"/>
                    <a:pt x="204" y="204"/>
                  </a:cubicBezTo>
                  <a:cubicBezTo>
                    <a:pt x="207" y="206"/>
                    <a:pt x="207" y="209"/>
                    <a:pt x="211" y="205"/>
                  </a:cubicBezTo>
                  <a:cubicBezTo>
                    <a:pt x="213" y="208"/>
                    <a:pt x="213" y="208"/>
                    <a:pt x="214" y="211"/>
                  </a:cubicBezTo>
                  <a:cubicBezTo>
                    <a:pt x="214" y="214"/>
                    <a:pt x="216" y="221"/>
                    <a:pt x="218" y="222"/>
                  </a:cubicBezTo>
                  <a:cubicBezTo>
                    <a:pt x="224" y="225"/>
                    <a:pt x="222" y="217"/>
                    <a:pt x="222" y="214"/>
                  </a:cubicBezTo>
                  <a:cubicBezTo>
                    <a:pt x="222" y="213"/>
                    <a:pt x="222" y="205"/>
                    <a:pt x="221" y="205"/>
                  </a:cubicBezTo>
                  <a:cubicBezTo>
                    <a:pt x="213" y="203"/>
                    <a:pt x="216" y="197"/>
                    <a:pt x="221" y="193"/>
                  </a:cubicBezTo>
                  <a:cubicBezTo>
                    <a:pt x="222" y="192"/>
                    <a:pt x="227" y="190"/>
                    <a:pt x="230" y="188"/>
                  </a:cubicBezTo>
                  <a:cubicBezTo>
                    <a:pt x="232" y="186"/>
                    <a:pt x="235" y="183"/>
                    <a:pt x="234" y="179"/>
                  </a:cubicBezTo>
                  <a:cubicBezTo>
                    <a:pt x="235" y="179"/>
                    <a:pt x="236" y="178"/>
                    <a:pt x="236" y="177"/>
                  </a:cubicBezTo>
                  <a:cubicBezTo>
                    <a:pt x="236" y="177"/>
                    <a:pt x="233" y="174"/>
                    <a:pt x="232" y="175"/>
                  </a:cubicBezTo>
                  <a:cubicBezTo>
                    <a:pt x="234" y="174"/>
                    <a:pt x="234" y="172"/>
                    <a:pt x="233" y="171"/>
                  </a:cubicBezTo>
                  <a:cubicBezTo>
                    <a:pt x="235" y="169"/>
                    <a:pt x="234" y="166"/>
                    <a:pt x="236" y="165"/>
                  </a:cubicBezTo>
                  <a:cubicBezTo>
                    <a:pt x="239" y="169"/>
                    <a:pt x="245" y="165"/>
                    <a:pt x="242" y="162"/>
                  </a:cubicBezTo>
                  <a:cubicBezTo>
                    <a:pt x="244" y="158"/>
                    <a:pt x="250" y="160"/>
                    <a:pt x="252" y="157"/>
                  </a:cubicBezTo>
                  <a:cubicBezTo>
                    <a:pt x="255" y="158"/>
                    <a:pt x="253" y="153"/>
                    <a:pt x="255" y="150"/>
                  </a:cubicBezTo>
                  <a:cubicBezTo>
                    <a:pt x="256" y="148"/>
                    <a:pt x="259" y="148"/>
                    <a:pt x="262" y="147"/>
                  </a:cubicBezTo>
                  <a:cubicBezTo>
                    <a:pt x="262" y="147"/>
                    <a:pt x="268" y="143"/>
                    <a:pt x="266" y="143"/>
                  </a:cubicBezTo>
                  <a:cubicBezTo>
                    <a:pt x="270" y="144"/>
                    <a:pt x="279" y="139"/>
                    <a:pt x="272" y="135"/>
                  </a:cubicBezTo>
                  <a:cubicBezTo>
                    <a:pt x="273" y="133"/>
                    <a:pt x="270" y="132"/>
                    <a:pt x="268" y="132"/>
                  </a:cubicBezTo>
                  <a:cubicBezTo>
                    <a:pt x="269" y="131"/>
                    <a:pt x="272" y="132"/>
                    <a:pt x="273" y="131"/>
                  </a:cubicBezTo>
                  <a:cubicBezTo>
                    <a:pt x="276" y="129"/>
                    <a:pt x="274" y="128"/>
                    <a:pt x="271" y="127"/>
                  </a:cubicBezTo>
                  <a:cubicBezTo>
                    <a:pt x="268" y="126"/>
                    <a:pt x="263" y="128"/>
                    <a:pt x="261" y="130"/>
                  </a:cubicBezTo>
                  <a:cubicBezTo>
                    <a:pt x="259" y="132"/>
                    <a:pt x="257" y="134"/>
                    <a:pt x="255" y="135"/>
                  </a:cubicBezTo>
                  <a:close/>
                  <a:moveTo>
                    <a:pt x="308" y="302"/>
                  </a:moveTo>
                  <a:cubicBezTo>
                    <a:pt x="306" y="301"/>
                    <a:pt x="303" y="301"/>
                    <a:pt x="301" y="300"/>
                  </a:cubicBezTo>
                  <a:cubicBezTo>
                    <a:pt x="299" y="300"/>
                    <a:pt x="298" y="299"/>
                    <a:pt x="295" y="298"/>
                  </a:cubicBezTo>
                  <a:cubicBezTo>
                    <a:pt x="296" y="293"/>
                    <a:pt x="290" y="292"/>
                    <a:pt x="287" y="289"/>
                  </a:cubicBezTo>
                  <a:cubicBezTo>
                    <a:pt x="284" y="287"/>
                    <a:pt x="282" y="284"/>
                    <a:pt x="277" y="285"/>
                  </a:cubicBezTo>
                  <a:cubicBezTo>
                    <a:pt x="276" y="285"/>
                    <a:pt x="271" y="287"/>
                    <a:pt x="272" y="288"/>
                  </a:cubicBezTo>
                  <a:cubicBezTo>
                    <a:pt x="269" y="285"/>
                    <a:pt x="268" y="284"/>
                    <a:pt x="263" y="282"/>
                  </a:cubicBezTo>
                  <a:cubicBezTo>
                    <a:pt x="259" y="281"/>
                    <a:pt x="257" y="276"/>
                    <a:pt x="253" y="281"/>
                  </a:cubicBezTo>
                  <a:cubicBezTo>
                    <a:pt x="251" y="283"/>
                    <a:pt x="252" y="286"/>
                    <a:pt x="251" y="288"/>
                  </a:cubicBezTo>
                  <a:cubicBezTo>
                    <a:pt x="247" y="285"/>
                    <a:pt x="254" y="282"/>
                    <a:pt x="251" y="279"/>
                  </a:cubicBezTo>
                  <a:cubicBezTo>
                    <a:pt x="248" y="275"/>
                    <a:pt x="243" y="281"/>
                    <a:pt x="240" y="282"/>
                  </a:cubicBezTo>
                  <a:cubicBezTo>
                    <a:pt x="239" y="284"/>
                    <a:pt x="237" y="284"/>
                    <a:pt x="236" y="286"/>
                  </a:cubicBezTo>
                  <a:cubicBezTo>
                    <a:pt x="235" y="287"/>
                    <a:pt x="234" y="290"/>
                    <a:pt x="233" y="291"/>
                  </a:cubicBezTo>
                  <a:cubicBezTo>
                    <a:pt x="233" y="289"/>
                    <a:pt x="228" y="290"/>
                    <a:pt x="228" y="288"/>
                  </a:cubicBezTo>
                  <a:cubicBezTo>
                    <a:pt x="229" y="294"/>
                    <a:pt x="229" y="301"/>
                    <a:pt x="230" y="307"/>
                  </a:cubicBezTo>
                  <a:cubicBezTo>
                    <a:pt x="231" y="310"/>
                    <a:pt x="230" y="316"/>
                    <a:pt x="227" y="319"/>
                  </a:cubicBezTo>
                  <a:cubicBezTo>
                    <a:pt x="224" y="321"/>
                    <a:pt x="221" y="324"/>
                    <a:pt x="220" y="329"/>
                  </a:cubicBezTo>
                  <a:cubicBezTo>
                    <a:pt x="220" y="332"/>
                    <a:pt x="220" y="334"/>
                    <a:pt x="223" y="335"/>
                  </a:cubicBezTo>
                  <a:cubicBezTo>
                    <a:pt x="223" y="339"/>
                    <a:pt x="219" y="342"/>
                    <a:pt x="219" y="346"/>
                  </a:cubicBezTo>
                  <a:cubicBezTo>
                    <a:pt x="219" y="346"/>
                    <a:pt x="220" y="348"/>
                    <a:pt x="220" y="350"/>
                  </a:cubicBezTo>
                  <a:cubicBezTo>
                    <a:pt x="254" y="344"/>
                    <a:pt x="285" y="327"/>
                    <a:pt x="308" y="302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FBEAE360-D1F0-4901-B8BF-91639F3F5D7F}"/>
              </a:ext>
            </a:extLst>
          </p:cNvPr>
          <p:cNvSpPr txBox="1"/>
          <p:nvPr/>
        </p:nvSpPr>
        <p:spPr>
          <a:xfrm>
            <a:off x="8485762" y="3489575"/>
            <a:ext cx="33303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Market Deep dives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 &amp;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Budget Optimization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Tool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90CD4AB-A7F8-4F46-83F4-656FAA842C7F}"/>
              </a:ext>
            </a:extLst>
          </p:cNvPr>
          <p:cNvGrpSpPr/>
          <p:nvPr/>
        </p:nvGrpSpPr>
        <p:grpSpPr>
          <a:xfrm>
            <a:off x="8898323" y="1892274"/>
            <a:ext cx="1243584" cy="1197864"/>
            <a:chOff x="9624600" y="1425598"/>
            <a:chExt cx="1243584" cy="1197864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CB45B8D4-8734-460C-B778-943FC7E12B45}"/>
                </a:ext>
              </a:extLst>
            </p:cNvPr>
            <p:cNvSpPr/>
            <p:nvPr/>
          </p:nvSpPr>
          <p:spPr>
            <a:xfrm>
              <a:off x="9624600" y="1425598"/>
              <a:ext cx="1243584" cy="1197864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45" name="Freeform 217">
              <a:extLst>
                <a:ext uri="{FF2B5EF4-FFF2-40B4-BE49-F238E27FC236}">
                  <a16:creationId xmlns:a16="http://schemas.microsoft.com/office/drawing/2014/main" id="{599276CB-CA54-4E26-91C9-635523F2ED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15354" y="1759441"/>
              <a:ext cx="662076" cy="556074"/>
            </a:xfrm>
            <a:custGeom>
              <a:avLst/>
              <a:gdLst/>
              <a:ahLst/>
              <a:cxnLst>
                <a:cxn ang="0">
                  <a:pos x="78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53"/>
                </a:cxn>
                <a:cxn ang="0">
                  <a:pos x="78" y="53"/>
                </a:cxn>
                <a:cxn ang="0">
                  <a:pos x="78" y="58"/>
                </a:cxn>
                <a:cxn ang="0">
                  <a:pos x="73" y="22"/>
                </a:cxn>
                <a:cxn ang="0">
                  <a:pos x="71" y="23"/>
                </a:cxn>
                <a:cxn ang="0">
                  <a:pos x="66" y="18"/>
                </a:cxn>
                <a:cxn ang="0">
                  <a:pos x="42" y="42"/>
                </a:cxn>
                <a:cxn ang="0">
                  <a:pos x="40" y="42"/>
                </a:cxn>
                <a:cxn ang="0">
                  <a:pos x="31" y="34"/>
                </a:cxn>
                <a:cxn ang="0">
                  <a:pos x="16" y="49"/>
                </a:cxn>
                <a:cxn ang="0">
                  <a:pos x="8" y="42"/>
                </a:cxn>
                <a:cxn ang="0">
                  <a:pos x="30" y="20"/>
                </a:cxn>
                <a:cxn ang="0">
                  <a:pos x="32" y="20"/>
                </a:cxn>
                <a:cxn ang="0">
                  <a:pos x="41" y="29"/>
                </a:cxn>
                <a:cxn ang="0">
                  <a:pos x="59" y="11"/>
                </a:cxn>
                <a:cxn ang="0">
                  <a:pos x="54" y="6"/>
                </a:cxn>
                <a:cxn ang="0">
                  <a:pos x="55" y="4"/>
                </a:cxn>
                <a:cxn ang="0">
                  <a:pos x="71" y="4"/>
                </a:cxn>
                <a:cxn ang="0">
                  <a:pos x="73" y="6"/>
                </a:cxn>
                <a:cxn ang="0">
                  <a:pos x="73" y="22"/>
                </a:cxn>
              </a:cxnLst>
              <a:rect l="0" t="0" r="r" b="b"/>
              <a:pathLst>
                <a:path w="78" h="58">
                  <a:moveTo>
                    <a:pt x="78" y="58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78" y="53"/>
                    <a:pt x="78" y="53"/>
                    <a:pt x="78" y="53"/>
                  </a:cubicBezTo>
                  <a:lnTo>
                    <a:pt x="78" y="58"/>
                  </a:lnTo>
                  <a:close/>
                  <a:moveTo>
                    <a:pt x="73" y="22"/>
                  </a:moveTo>
                  <a:cubicBezTo>
                    <a:pt x="73" y="23"/>
                    <a:pt x="71" y="24"/>
                    <a:pt x="71" y="23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1" y="43"/>
                    <a:pt x="41" y="43"/>
                    <a:pt x="40" y="42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1" y="19"/>
                    <a:pt x="32" y="19"/>
                    <a:pt x="32" y="20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3" y="6"/>
                    <a:pt x="54" y="4"/>
                    <a:pt x="55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2" y="4"/>
                    <a:pt x="73" y="5"/>
                    <a:pt x="73" y="6"/>
                  </a:cubicBezTo>
                  <a:lnTo>
                    <a:pt x="73" y="22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51" name="Picture 50" descr="A picture containing graphics, bridge&#10;&#10;Description automatically generated">
            <a:extLst>
              <a:ext uri="{FF2B5EF4-FFF2-40B4-BE49-F238E27FC236}">
                <a16:creationId xmlns:a16="http://schemas.microsoft.com/office/drawing/2014/main" id="{1A223A12-EFD1-4934-9D7D-2060C6210AC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63717" y="4181298"/>
            <a:ext cx="777240" cy="777240"/>
          </a:xfrm>
          <a:prstGeom prst="rect">
            <a:avLst/>
          </a:prstGeom>
        </p:spPr>
      </p:pic>
      <p:pic>
        <p:nvPicPr>
          <p:cNvPr id="55" name="Picture 54" descr="A picture containing bridge, comb&#10;&#10;Description automatically generated">
            <a:extLst>
              <a:ext uri="{FF2B5EF4-FFF2-40B4-BE49-F238E27FC236}">
                <a16:creationId xmlns:a16="http://schemas.microsoft.com/office/drawing/2014/main" id="{F9D9F86F-FF33-4B98-9B66-C82C5E42522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51129" y="4174680"/>
            <a:ext cx="777240" cy="777240"/>
          </a:xfrm>
          <a:prstGeom prst="rect">
            <a:avLst/>
          </a:prstGeom>
        </p:spPr>
      </p:pic>
      <p:pic>
        <p:nvPicPr>
          <p:cNvPr id="59" name="Picture 58" descr="A picture containing comb, bridge&#10;&#10;Description automatically generated">
            <a:extLst>
              <a:ext uri="{FF2B5EF4-FFF2-40B4-BE49-F238E27FC236}">
                <a16:creationId xmlns:a16="http://schemas.microsoft.com/office/drawing/2014/main" id="{A465939D-6F54-4D12-8FE8-F242B0C9CA9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48274" y="4191085"/>
            <a:ext cx="777240" cy="7772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38FC936-C17D-47F0-928F-F433A054B2C8}"/>
              </a:ext>
            </a:extLst>
          </p:cNvPr>
          <p:cNvSpPr txBox="1"/>
          <p:nvPr/>
        </p:nvSpPr>
        <p:spPr>
          <a:xfrm>
            <a:off x="740619" y="1283901"/>
            <a:ext cx="31187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25</a:t>
            </a:r>
            <a:r>
              <a:rPr lang="en-US" b="1" baseline="30000" dirty="0">
                <a:solidFill>
                  <a:schemeClr val="bg1"/>
                </a:solidFill>
              </a:rPr>
              <a:t>th</a:t>
            </a:r>
            <a:r>
              <a:rPr lang="en-US" b="1" dirty="0">
                <a:solidFill>
                  <a:schemeClr val="bg1"/>
                </a:solidFill>
              </a:rPr>
              <a:t> Feb – 31</a:t>
            </a:r>
            <a:r>
              <a:rPr lang="en-US" b="1" baseline="30000" dirty="0">
                <a:solidFill>
                  <a:schemeClr val="bg1"/>
                </a:solidFill>
              </a:rPr>
              <a:t>st</a:t>
            </a:r>
            <a:r>
              <a:rPr lang="en-US" b="1" dirty="0">
                <a:solidFill>
                  <a:schemeClr val="bg1"/>
                </a:solidFill>
              </a:rPr>
              <a:t> Mar (5 Week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C3D03B-3498-4D0C-9CC6-0D4F0EBD5988}"/>
              </a:ext>
            </a:extLst>
          </p:cNvPr>
          <p:cNvSpPr txBox="1"/>
          <p:nvPr/>
        </p:nvSpPr>
        <p:spPr>
          <a:xfrm>
            <a:off x="524406" y="3448522"/>
            <a:ext cx="69544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Pre-Modeling and Modeling</a:t>
            </a:r>
          </a:p>
          <a:p>
            <a:pPr algn="ctr"/>
            <a:r>
              <a:rPr lang="en-US" sz="1400" b="1" i="1" dirty="0"/>
              <a:t>Identifying data, Feature engineering and Driver analysis</a:t>
            </a:r>
          </a:p>
        </p:txBody>
      </p:sp>
      <p:pic>
        <p:nvPicPr>
          <p:cNvPr id="2050" name="Picture 2" descr="Vital Signs Marketing Online Marketing News: Proper Budget ...">
            <a:extLst>
              <a:ext uri="{FF2B5EF4-FFF2-40B4-BE49-F238E27FC236}">
                <a16:creationId xmlns:a16="http://schemas.microsoft.com/office/drawing/2014/main" id="{826EF62B-F2E1-4C86-8FDD-100BB8F34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97CEFB"/>
              </a:clrFrom>
              <a:clrTo>
                <a:srgbClr val="97CEFB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9025" y="4838924"/>
            <a:ext cx="1983855" cy="1135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B83FA646-A36E-4550-A50F-AD6BBEA032AE}"/>
              </a:ext>
            </a:extLst>
          </p:cNvPr>
          <p:cNvSpPr txBox="1"/>
          <p:nvPr/>
        </p:nvSpPr>
        <p:spPr>
          <a:xfrm>
            <a:off x="858305" y="5016333"/>
            <a:ext cx="898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Franc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8B627F7-CE32-445D-9F69-113939FE6623}"/>
              </a:ext>
            </a:extLst>
          </p:cNvPr>
          <p:cNvSpPr txBox="1"/>
          <p:nvPr/>
        </p:nvSpPr>
        <p:spPr>
          <a:xfrm>
            <a:off x="1996196" y="5008684"/>
            <a:ext cx="898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Ital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3F73D4C-4E6D-4500-BC70-00731D2AFEA3}"/>
              </a:ext>
            </a:extLst>
          </p:cNvPr>
          <p:cNvSpPr txBox="1"/>
          <p:nvPr/>
        </p:nvSpPr>
        <p:spPr>
          <a:xfrm>
            <a:off x="3109668" y="5016333"/>
            <a:ext cx="898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Russia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7F38F68-00B7-47AB-A680-6AD360721C7C}"/>
              </a:ext>
            </a:extLst>
          </p:cNvPr>
          <p:cNvSpPr txBox="1"/>
          <p:nvPr/>
        </p:nvSpPr>
        <p:spPr>
          <a:xfrm>
            <a:off x="4485884" y="5013215"/>
            <a:ext cx="898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UA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23671B2-BD34-46BA-8637-6FDA2F32F466}"/>
              </a:ext>
            </a:extLst>
          </p:cNvPr>
          <p:cNvSpPr txBox="1"/>
          <p:nvPr/>
        </p:nvSpPr>
        <p:spPr>
          <a:xfrm>
            <a:off x="5518466" y="4987703"/>
            <a:ext cx="1067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German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BD0029-54F1-47A6-AE27-FF4E803833E1}"/>
              </a:ext>
            </a:extLst>
          </p:cNvPr>
          <p:cNvSpPr txBox="1"/>
          <p:nvPr/>
        </p:nvSpPr>
        <p:spPr>
          <a:xfrm>
            <a:off x="6637894" y="5006873"/>
            <a:ext cx="1067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Irelan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F6B57F4-3DA3-4A97-85B8-C2F652FD0BAE}"/>
              </a:ext>
            </a:extLst>
          </p:cNvPr>
          <p:cNvSpPr txBox="1"/>
          <p:nvPr/>
        </p:nvSpPr>
        <p:spPr>
          <a:xfrm>
            <a:off x="4485472" y="1279060"/>
            <a:ext cx="31187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1</a:t>
            </a:r>
            <a:r>
              <a:rPr lang="en-US" b="1" baseline="30000" dirty="0">
                <a:solidFill>
                  <a:schemeClr val="bg1"/>
                </a:solidFill>
              </a:rPr>
              <a:t>st</a:t>
            </a:r>
            <a:r>
              <a:rPr lang="en-US" b="1" dirty="0">
                <a:solidFill>
                  <a:schemeClr val="bg1"/>
                </a:solidFill>
              </a:rPr>
              <a:t> Apr – 15</a:t>
            </a:r>
            <a:r>
              <a:rPr lang="en-US" b="1" baseline="30000" dirty="0">
                <a:solidFill>
                  <a:schemeClr val="bg1"/>
                </a:solidFill>
              </a:rPr>
              <a:t>th</a:t>
            </a:r>
            <a:r>
              <a:rPr lang="en-US" b="1" dirty="0">
                <a:solidFill>
                  <a:schemeClr val="bg1"/>
                </a:solidFill>
              </a:rPr>
              <a:t> Apr (3 Weeks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A73516F-C1C1-40A4-9D33-0C2861275A54}"/>
              </a:ext>
            </a:extLst>
          </p:cNvPr>
          <p:cNvSpPr txBox="1"/>
          <p:nvPr/>
        </p:nvSpPr>
        <p:spPr>
          <a:xfrm>
            <a:off x="1983910" y="5340181"/>
            <a:ext cx="116727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>
                <a:solidFill>
                  <a:schemeClr val="bg1"/>
                </a:solidFill>
              </a:rPr>
              <a:t>(38 Weeks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F5FE6DB-6702-4D89-ADF1-A12FA771F194}"/>
              </a:ext>
            </a:extLst>
          </p:cNvPr>
          <p:cNvSpPr txBox="1"/>
          <p:nvPr/>
        </p:nvSpPr>
        <p:spPr>
          <a:xfrm>
            <a:off x="3134087" y="5340181"/>
            <a:ext cx="116727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>
                <a:solidFill>
                  <a:schemeClr val="bg1"/>
                </a:solidFill>
              </a:rPr>
              <a:t>(31 Weeks)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9422BAB-1F7F-4C93-8C02-AFFE840D38C1}"/>
              </a:ext>
            </a:extLst>
          </p:cNvPr>
          <p:cNvSpPr txBox="1"/>
          <p:nvPr/>
        </p:nvSpPr>
        <p:spPr>
          <a:xfrm>
            <a:off x="4483180" y="5306640"/>
            <a:ext cx="116727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>
                <a:solidFill>
                  <a:schemeClr val="bg1"/>
                </a:solidFill>
              </a:rPr>
              <a:t>(22 Weeks)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7339E3-3F80-4252-B8C3-DD2AA375FFB8}"/>
              </a:ext>
            </a:extLst>
          </p:cNvPr>
          <p:cNvSpPr txBox="1"/>
          <p:nvPr/>
        </p:nvSpPr>
        <p:spPr>
          <a:xfrm>
            <a:off x="5611489" y="5315156"/>
            <a:ext cx="116727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>
                <a:solidFill>
                  <a:schemeClr val="bg1"/>
                </a:solidFill>
              </a:rPr>
              <a:t>(20 Weeks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27554C3-50CD-41C8-AE22-E298FB6B0D7F}"/>
              </a:ext>
            </a:extLst>
          </p:cNvPr>
          <p:cNvSpPr txBox="1"/>
          <p:nvPr/>
        </p:nvSpPr>
        <p:spPr>
          <a:xfrm>
            <a:off x="6714956" y="5329942"/>
            <a:ext cx="116727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>
                <a:solidFill>
                  <a:schemeClr val="bg1"/>
                </a:solidFill>
              </a:rPr>
              <a:t>(31 Weeks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E0FCC7F-E592-485C-986B-957B97905475}"/>
              </a:ext>
            </a:extLst>
          </p:cNvPr>
          <p:cNvSpPr txBox="1"/>
          <p:nvPr/>
        </p:nvSpPr>
        <p:spPr>
          <a:xfrm>
            <a:off x="46196" y="5236750"/>
            <a:ext cx="11672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Weeks of observation</a:t>
            </a: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60AA4E32-8D96-4D72-AC50-0B4165C24C95}"/>
              </a:ext>
            </a:extLst>
          </p:cNvPr>
          <p:cNvSpPr/>
          <p:nvPr/>
        </p:nvSpPr>
        <p:spPr>
          <a:xfrm rot="5400000">
            <a:off x="2335005" y="4402674"/>
            <a:ext cx="171505" cy="2877147"/>
          </a:xfrm>
          <a:prstGeom prst="rightBrac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9D9FA68-E381-46EA-B2FF-651582830CE6}"/>
              </a:ext>
            </a:extLst>
          </p:cNvPr>
          <p:cNvSpPr txBox="1"/>
          <p:nvPr/>
        </p:nvSpPr>
        <p:spPr>
          <a:xfrm>
            <a:off x="982183" y="6175386"/>
            <a:ext cx="28771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92D050"/>
                </a:solidFill>
              </a:rPr>
              <a:t>TODAY</a:t>
            </a:r>
          </a:p>
        </p:txBody>
      </p:sp>
    </p:spTree>
    <p:extLst>
      <p:ext uri="{BB962C8B-B14F-4D97-AF65-F5344CB8AC3E}">
        <p14:creationId xmlns:p14="http://schemas.microsoft.com/office/powerpoint/2010/main" val="2457406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7F159DC-DC0B-4868-A5BB-C0377EF0C277}"/>
              </a:ext>
            </a:extLst>
          </p:cNvPr>
          <p:cNvGrpSpPr/>
          <p:nvPr/>
        </p:nvGrpSpPr>
        <p:grpSpPr>
          <a:xfrm>
            <a:off x="10014257" y="1110406"/>
            <a:ext cx="1371977" cy="1378053"/>
            <a:chOff x="793499" y="1263695"/>
            <a:chExt cx="2228412" cy="2228408"/>
          </a:xfrm>
          <a:solidFill>
            <a:srgbClr val="4BBBEB"/>
          </a:solidFill>
        </p:grpSpPr>
        <p:grpSp>
          <p:nvGrpSpPr>
            <p:cNvPr id="33" name="Group 49">
              <a:extLst>
                <a:ext uri="{FF2B5EF4-FFF2-40B4-BE49-F238E27FC236}">
                  <a16:creationId xmlns:a16="http://schemas.microsoft.com/office/drawing/2014/main" id="{BB0A9ED5-E07D-4974-AC99-D089F16B479A}"/>
                </a:ext>
              </a:extLst>
            </p:cNvPr>
            <p:cNvGrpSpPr/>
            <p:nvPr/>
          </p:nvGrpSpPr>
          <p:grpSpPr>
            <a:xfrm>
              <a:off x="793499" y="1263695"/>
              <a:ext cx="2228412" cy="2228408"/>
              <a:chOff x="953424" y="1486519"/>
              <a:chExt cx="2228412" cy="2228408"/>
            </a:xfrm>
            <a:grpFill/>
          </p:grpSpPr>
          <p:sp>
            <p:nvSpPr>
              <p:cNvPr id="34" name="Freeform 41">
                <a:extLst>
                  <a:ext uri="{FF2B5EF4-FFF2-40B4-BE49-F238E27FC236}">
                    <a16:creationId xmlns:a16="http://schemas.microsoft.com/office/drawing/2014/main" id="{A676EADC-A4F3-400E-B4F6-AD3785BCBE1B}"/>
                  </a:ext>
                </a:extLst>
              </p:cNvPr>
              <p:cNvSpPr/>
              <p:nvPr/>
            </p:nvSpPr>
            <p:spPr>
              <a:xfrm>
                <a:off x="953424" y="1486519"/>
                <a:ext cx="2228412" cy="2228408"/>
              </a:xfrm>
              <a:custGeom>
                <a:avLst/>
                <a:gdLst>
                  <a:gd name="connsiteX0" fmla="*/ 1124074 w 1583637"/>
                  <a:gd name="connsiteY0" fmla="*/ 252493 h 1583637"/>
                  <a:gd name="connsiteX1" fmla="*/ 1247256 w 1583637"/>
                  <a:gd name="connsiteY1" fmla="*/ 149126 h 1583637"/>
                  <a:gd name="connsiteX2" fmla="*/ 1345663 w 1583637"/>
                  <a:gd name="connsiteY2" fmla="*/ 231701 h 1583637"/>
                  <a:gd name="connsiteX3" fmla="*/ 1265256 w 1583637"/>
                  <a:gd name="connsiteY3" fmla="*/ 370961 h 1583637"/>
                  <a:gd name="connsiteX4" fmla="*/ 1393012 w 1583637"/>
                  <a:gd name="connsiteY4" fmla="*/ 592241 h 1583637"/>
                  <a:gd name="connsiteX5" fmla="*/ 1553818 w 1583637"/>
                  <a:gd name="connsiteY5" fmla="*/ 592237 h 1583637"/>
                  <a:gd name="connsiteX6" fmla="*/ 1576125 w 1583637"/>
                  <a:gd name="connsiteY6" fmla="*/ 718748 h 1583637"/>
                  <a:gd name="connsiteX7" fmla="*/ 1425015 w 1583637"/>
                  <a:gd name="connsiteY7" fmla="*/ 773743 h 1583637"/>
                  <a:gd name="connsiteX8" fmla="*/ 1380646 w 1583637"/>
                  <a:gd name="connsiteY8" fmla="*/ 1025372 h 1583637"/>
                  <a:gd name="connsiteX9" fmla="*/ 1503833 w 1583637"/>
                  <a:gd name="connsiteY9" fmla="*/ 1128733 h 1583637"/>
                  <a:gd name="connsiteX10" fmla="*/ 1439602 w 1583637"/>
                  <a:gd name="connsiteY10" fmla="*/ 1239984 h 1583637"/>
                  <a:gd name="connsiteX11" fmla="*/ 1288495 w 1583637"/>
                  <a:gd name="connsiteY11" fmla="*/ 1184982 h 1583637"/>
                  <a:gd name="connsiteX12" fmla="*/ 1092761 w 1583637"/>
                  <a:gd name="connsiteY12" fmla="*/ 1349222 h 1583637"/>
                  <a:gd name="connsiteX13" fmla="*/ 1120689 w 1583637"/>
                  <a:gd name="connsiteY13" fmla="*/ 1507584 h 1583637"/>
                  <a:gd name="connsiteX14" fmla="*/ 999974 w 1583637"/>
                  <a:gd name="connsiteY14" fmla="*/ 1551521 h 1583637"/>
                  <a:gd name="connsiteX15" fmla="*/ 919574 w 1583637"/>
                  <a:gd name="connsiteY15" fmla="*/ 1412257 h 1583637"/>
                  <a:gd name="connsiteX16" fmla="*/ 664062 w 1583637"/>
                  <a:gd name="connsiteY16" fmla="*/ 1412257 h 1583637"/>
                  <a:gd name="connsiteX17" fmla="*/ 583663 w 1583637"/>
                  <a:gd name="connsiteY17" fmla="*/ 1551521 h 1583637"/>
                  <a:gd name="connsiteX18" fmla="*/ 462948 w 1583637"/>
                  <a:gd name="connsiteY18" fmla="*/ 1507584 h 1583637"/>
                  <a:gd name="connsiteX19" fmla="*/ 490876 w 1583637"/>
                  <a:gd name="connsiteY19" fmla="*/ 1349222 h 1583637"/>
                  <a:gd name="connsiteX20" fmla="*/ 295142 w 1583637"/>
                  <a:gd name="connsiteY20" fmla="*/ 1184981 h 1583637"/>
                  <a:gd name="connsiteX21" fmla="*/ 144035 w 1583637"/>
                  <a:gd name="connsiteY21" fmla="*/ 1239984 h 1583637"/>
                  <a:gd name="connsiteX22" fmla="*/ 79804 w 1583637"/>
                  <a:gd name="connsiteY22" fmla="*/ 1128733 h 1583637"/>
                  <a:gd name="connsiteX23" fmla="*/ 202991 w 1583637"/>
                  <a:gd name="connsiteY23" fmla="*/ 1025372 h 1583637"/>
                  <a:gd name="connsiteX24" fmla="*/ 158622 w 1583637"/>
                  <a:gd name="connsiteY24" fmla="*/ 773743 h 1583637"/>
                  <a:gd name="connsiteX25" fmla="*/ 7512 w 1583637"/>
                  <a:gd name="connsiteY25" fmla="*/ 718748 h 1583637"/>
                  <a:gd name="connsiteX26" fmla="*/ 29819 w 1583637"/>
                  <a:gd name="connsiteY26" fmla="*/ 592237 h 1583637"/>
                  <a:gd name="connsiteX27" fmla="*/ 190625 w 1583637"/>
                  <a:gd name="connsiteY27" fmla="*/ 592241 h 1583637"/>
                  <a:gd name="connsiteX28" fmla="*/ 318381 w 1583637"/>
                  <a:gd name="connsiteY28" fmla="*/ 370961 h 1583637"/>
                  <a:gd name="connsiteX29" fmla="*/ 237974 w 1583637"/>
                  <a:gd name="connsiteY29" fmla="*/ 231701 h 1583637"/>
                  <a:gd name="connsiteX30" fmla="*/ 336381 w 1583637"/>
                  <a:gd name="connsiteY30" fmla="*/ 149126 h 1583637"/>
                  <a:gd name="connsiteX31" fmla="*/ 459563 w 1583637"/>
                  <a:gd name="connsiteY31" fmla="*/ 252493 h 1583637"/>
                  <a:gd name="connsiteX32" fmla="*/ 699666 w 1583637"/>
                  <a:gd name="connsiteY32" fmla="*/ 165103 h 1583637"/>
                  <a:gd name="connsiteX33" fmla="*/ 727586 w 1583637"/>
                  <a:gd name="connsiteY33" fmla="*/ 6739 h 1583637"/>
                  <a:gd name="connsiteX34" fmla="*/ 856051 w 1583637"/>
                  <a:gd name="connsiteY34" fmla="*/ 6739 h 1583637"/>
                  <a:gd name="connsiteX35" fmla="*/ 883970 w 1583637"/>
                  <a:gd name="connsiteY35" fmla="*/ 165102 h 1583637"/>
                  <a:gd name="connsiteX36" fmla="*/ 1124073 w 1583637"/>
                  <a:gd name="connsiteY36" fmla="*/ 252493 h 1583637"/>
                  <a:gd name="connsiteX37" fmla="*/ 1124074 w 1583637"/>
                  <a:gd name="connsiteY37" fmla="*/ 252493 h 1583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583637" h="1583637">
                    <a:moveTo>
                      <a:pt x="1124074" y="252493"/>
                    </a:moveTo>
                    <a:lnTo>
                      <a:pt x="1247256" y="149126"/>
                    </a:lnTo>
                    <a:lnTo>
                      <a:pt x="1345663" y="231701"/>
                    </a:lnTo>
                    <a:lnTo>
                      <a:pt x="1265256" y="370961"/>
                    </a:lnTo>
                    <a:cubicBezTo>
                      <a:pt x="1322430" y="435278"/>
                      <a:pt x="1365899" y="510569"/>
                      <a:pt x="1393012" y="592241"/>
                    </a:cubicBezTo>
                    <a:lnTo>
                      <a:pt x="1553818" y="592237"/>
                    </a:lnTo>
                    <a:lnTo>
                      <a:pt x="1576125" y="718748"/>
                    </a:lnTo>
                    <a:lnTo>
                      <a:pt x="1425015" y="773743"/>
                    </a:lnTo>
                    <a:cubicBezTo>
                      <a:pt x="1427471" y="859762"/>
                      <a:pt x="1412374" y="945380"/>
                      <a:pt x="1380646" y="1025372"/>
                    </a:cubicBezTo>
                    <a:lnTo>
                      <a:pt x="1503833" y="1128733"/>
                    </a:lnTo>
                    <a:lnTo>
                      <a:pt x="1439602" y="1239984"/>
                    </a:lnTo>
                    <a:lnTo>
                      <a:pt x="1288495" y="1184982"/>
                    </a:lnTo>
                    <a:cubicBezTo>
                      <a:pt x="1235084" y="1252456"/>
                      <a:pt x="1168484" y="1308339"/>
                      <a:pt x="1092761" y="1349222"/>
                    </a:cubicBezTo>
                    <a:lnTo>
                      <a:pt x="1120689" y="1507584"/>
                    </a:lnTo>
                    <a:lnTo>
                      <a:pt x="999974" y="1551521"/>
                    </a:lnTo>
                    <a:lnTo>
                      <a:pt x="919574" y="1412257"/>
                    </a:lnTo>
                    <a:cubicBezTo>
                      <a:pt x="835287" y="1429613"/>
                      <a:pt x="748348" y="1429613"/>
                      <a:pt x="664062" y="1412257"/>
                    </a:cubicBezTo>
                    <a:lnTo>
                      <a:pt x="583663" y="1551521"/>
                    </a:lnTo>
                    <a:lnTo>
                      <a:pt x="462948" y="1507584"/>
                    </a:lnTo>
                    <a:lnTo>
                      <a:pt x="490876" y="1349222"/>
                    </a:lnTo>
                    <a:cubicBezTo>
                      <a:pt x="415153" y="1308339"/>
                      <a:pt x="348553" y="1252455"/>
                      <a:pt x="295142" y="1184981"/>
                    </a:cubicBezTo>
                    <a:lnTo>
                      <a:pt x="144035" y="1239984"/>
                    </a:lnTo>
                    <a:lnTo>
                      <a:pt x="79804" y="1128733"/>
                    </a:lnTo>
                    <a:lnTo>
                      <a:pt x="202991" y="1025372"/>
                    </a:lnTo>
                    <a:cubicBezTo>
                      <a:pt x="171263" y="945380"/>
                      <a:pt x="156166" y="859762"/>
                      <a:pt x="158622" y="773743"/>
                    </a:cubicBezTo>
                    <a:lnTo>
                      <a:pt x="7512" y="718748"/>
                    </a:lnTo>
                    <a:lnTo>
                      <a:pt x="29819" y="592237"/>
                    </a:lnTo>
                    <a:lnTo>
                      <a:pt x="190625" y="592241"/>
                    </a:lnTo>
                    <a:cubicBezTo>
                      <a:pt x="217738" y="510569"/>
                      <a:pt x="261208" y="435277"/>
                      <a:pt x="318381" y="370961"/>
                    </a:cubicBezTo>
                    <a:lnTo>
                      <a:pt x="237974" y="231701"/>
                    </a:lnTo>
                    <a:lnTo>
                      <a:pt x="336381" y="149126"/>
                    </a:lnTo>
                    <a:lnTo>
                      <a:pt x="459563" y="252493"/>
                    </a:lnTo>
                    <a:cubicBezTo>
                      <a:pt x="532831" y="207356"/>
                      <a:pt x="614527" y="177621"/>
                      <a:pt x="699666" y="165103"/>
                    </a:cubicBezTo>
                    <a:lnTo>
                      <a:pt x="727586" y="6739"/>
                    </a:lnTo>
                    <a:lnTo>
                      <a:pt x="856051" y="6739"/>
                    </a:lnTo>
                    <a:lnTo>
                      <a:pt x="883970" y="165102"/>
                    </a:lnTo>
                    <a:cubicBezTo>
                      <a:pt x="969110" y="177621"/>
                      <a:pt x="1050806" y="207356"/>
                      <a:pt x="1124073" y="252493"/>
                    </a:cubicBezTo>
                    <a:lnTo>
                      <a:pt x="1124074" y="252493"/>
                    </a:lnTo>
                    <a:close/>
                  </a:path>
                </a:pathLst>
              </a:custGeom>
              <a:solidFill>
                <a:srgbClr val="235087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56481" tIns="548640" rIns="356481" bIns="436755" numCol="1" spcCol="1270" anchor="ctr" anchorCtr="0">
                <a:noAutofit/>
              </a:bodyPr>
              <a:lstStyle/>
              <a:p>
                <a:pPr lvl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3000" kern="1200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15EEBAF0-197E-4CFB-9D93-D0D793BE3633}"/>
                  </a:ext>
                </a:extLst>
              </p:cNvPr>
              <p:cNvSpPr/>
              <p:nvPr/>
            </p:nvSpPr>
            <p:spPr>
              <a:xfrm>
                <a:off x="1376346" y="1909439"/>
                <a:ext cx="1382568" cy="1382568"/>
              </a:xfrm>
              <a:prstGeom prst="ellipse">
                <a:avLst/>
              </a:prstGeom>
              <a:grpFill/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/>
              </a:p>
            </p:txBody>
          </p:sp>
        </p:grpSp>
        <p:sp>
          <p:nvSpPr>
            <p:cNvPr id="36" name="Freeform 42">
              <a:extLst>
                <a:ext uri="{FF2B5EF4-FFF2-40B4-BE49-F238E27FC236}">
                  <a16:creationId xmlns:a16="http://schemas.microsoft.com/office/drawing/2014/main" id="{BED29A4D-3A67-436E-A2BC-F136AC289E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0034" y="2121676"/>
              <a:ext cx="595343" cy="512447"/>
            </a:xfrm>
            <a:custGeom>
              <a:avLst/>
              <a:gdLst/>
              <a:ahLst/>
              <a:cxnLst>
                <a:cxn ang="0">
                  <a:pos x="73" y="47"/>
                </a:cxn>
                <a:cxn ang="0">
                  <a:pos x="67" y="53"/>
                </a:cxn>
                <a:cxn ang="0">
                  <a:pos x="46" y="53"/>
                </a:cxn>
                <a:cxn ang="0">
                  <a:pos x="48" y="60"/>
                </a:cxn>
                <a:cxn ang="0">
                  <a:pos x="46" y="63"/>
                </a:cxn>
                <a:cxn ang="0">
                  <a:pos x="26" y="63"/>
                </a:cxn>
                <a:cxn ang="0">
                  <a:pos x="24" y="60"/>
                </a:cxn>
                <a:cxn ang="0">
                  <a:pos x="26" y="53"/>
                </a:cxn>
                <a:cxn ang="0">
                  <a:pos x="6" y="53"/>
                </a:cxn>
                <a:cxn ang="0">
                  <a:pos x="0" y="47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7" y="0"/>
                </a:cxn>
                <a:cxn ang="0">
                  <a:pos x="73" y="6"/>
                </a:cxn>
                <a:cxn ang="0">
                  <a:pos x="73" y="47"/>
                </a:cxn>
                <a:cxn ang="0">
                  <a:pos x="68" y="6"/>
                </a:cxn>
                <a:cxn ang="0">
                  <a:pos x="67" y="5"/>
                </a:cxn>
                <a:cxn ang="0">
                  <a:pos x="6" y="5"/>
                </a:cxn>
                <a:cxn ang="0">
                  <a:pos x="5" y="6"/>
                </a:cxn>
                <a:cxn ang="0">
                  <a:pos x="5" y="37"/>
                </a:cxn>
                <a:cxn ang="0">
                  <a:pos x="6" y="39"/>
                </a:cxn>
                <a:cxn ang="0">
                  <a:pos x="67" y="39"/>
                </a:cxn>
                <a:cxn ang="0">
                  <a:pos x="68" y="37"/>
                </a:cxn>
                <a:cxn ang="0">
                  <a:pos x="68" y="6"/>
                </a:cxn>
              </a:cxnLst>
              <a:rect l="0" t="0" r="r" b="b"/>
              <a:pathLst>
                <a:path w="73" h="63">
                  <a:moveTo>
                    <a:pt x="73" y="47"/>
                  </a:moveTo>
                  <a:cubicBezTo>
                    <a:pt x="73" y="50"/>
                    <a:pt x="70" y="53"/>
                    <a:pt x="67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6"/>
                    <a:pt x="48" y="59"/>
                    <a:pt x="48" y="60"/>
                  </a:cubicBezTo>
                  <a:cubicBezTo>
                    <a:pt x="48" y="62"/>
                    <a:pt x="47" y="63"/>
                    <a:pt x="4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4" y="62"/>
                    <a:pt x="24" y="60"/>
                  </a:cubicBezTo>
                  <a:cubicBezTo>
                    <a:pt x="24" y="59"/>
                    <a:pt x="26" y="56"/>
                    <a:pt x="26" y="5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2" y="53"/>
                    <a:pt x="0" y="50"/>
                    <a:pt x="0" y="4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0" y="0"/>
                    <a:pt x="73" y="2"/>
                    <a:pt x="73" y="6"/>
                  </a:cubicBezTo>
                  <a:lnTo>
                    <a:pt x="73" y="47"/>
                  </a:lnTo>
                  <a:close/>
                  <a:moveTo>
                    <a:pt x="68" y="6"/>
                  </a:moveTo>
                  <a:cubicBezTo>
                    <a:pt x="68" y="5"/>
                    <a:pt x="67" y="5"/>
                    <a:pt x="6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8"/>
                    <a:pt x="5" y="39"/>
                    <a:pt x="6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8" y="38"/>
                    <a:pt x="68" y="37"/>
                  </a:cubicBezTo>
                  <a:lnTo>
                    <a:pt x="68" y="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783EA62-C82A-40B1-8F06-5ADE476E0698}"/>
              </a:ext>
            </a:extLst>
          </p:cNvPr>
          <p:cNvGrpSpPr/>
          <p:nvPr/>
        </p:nvGrpSpPr>
        <p:grpSpPr>
          <a:xfrm>
            <a:off x="260127" y="1225880"/>
            <a:ext cx="11667909" cy="5444372"/>
            <a:chOff x="401665" y="996769"/>
            <a:chExt cx="15505084" cy="7262696"/>
          </a:xfrm>
        </p:grpSpPr>
        <p:sp>
          <p:nvSpPr>
            <p:cNvPr id="2" name="Text Placeholder 11">
              <a:extLst>
                <a:ext uri="{FF2B5EF4-FFF2-40B4-BE49-F238E27FC236}">
                  <a16:creationId xmlns:a16="http://schemas.microsoft.com/office/drawing/2014/main" id="{661FBFC0-BFC4-7545-AF1D-B15CEA8495AB}"/>
                </a:ext>
              </a:extLst>
            </p:cNvPr>
            <p:cNvSpPr txBox="1">
              <a:spLocks/>
            </p:cNvSpPr>
            <p:nvPr/>
          </p:nvSpPr>
          <p:spPr>
            <a:xfrm>
              <a:off x="4500562" y="3116262"/>
              <a:ext cx="3190875" cy="62547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>
                  <a:solidFill>
                    <a:schemeClr val="bg1"/>
                  </a:solidFill>
                  <a:latin typeface="Helvetica Neue LT Pro 75" panose="020B0604020202020204" pitchFamily="34" charset="77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/>
                <a:t>Feature Engineering</a:t>
              </a:r>
            </a:p>
          </p:txBody>
        </p:sp>
        <p:sp>
          <p:nvSpPr>
            <p:cNvPr id="4" name="Text Placeholder 11">
              <a:extLst>
                <a:ext uri="{FF2B5EF4-FFF2-40B4-BE49-F238E27FC236}">
                  <a16:creationId xmlns:a16="http://schemas.microsoft.com/office/drawing/2014/main" id="{1B69957C-46F8-C645-8F13-1696CDC17F4A}"/>
                </a:ext>
              </a:extLst>
            </p:cNvPr>
            <p:cNvSpPr txBox="1">
              <a:spLocks/>
            </p:cNvSpPr>
            <p:nvPr/>
          </p:nvSpPr>
          <p:spPr>
            <a:xfrm>
              <a:off x="428625" y="3116262"/>
              <a:ext cx="3190875" cy="62547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>
                  <a:solidFill>
                    <a:schemeClr val="bg1"/>
                  </a:solidFill>
                  <a:latin typeface="Helvetica Neue LT Pro 75" panose="020B0604020202020204" pitchFamily="34" charset="77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/>
                <a:t>Data Harmonization </a:t>
              </a:r>
            </a:p>
          </p:txBody>
        </p:sp>
        <p:sp>
          <p:nvSpPr>
            <p:cNvPr id="5" name="Text Placeholder 15">
              <a:extLst>
                <a:ext uri="{FF2B5EF4-FFF2-40B4-BE49-F238E27FC236}">
                  <a16:creationId xmlns:a16="http://schemas.microsoft.com/office/drawing/2014/main" id="{41C58C71-36D2-1743-A231-3AD6B45E952B}"/>
                </a:ext>
              </a:extLst>
            </p:cNvPr>
            <p:cNvSpPr txBox="1">
              <a:spLocks/>
            </p:cNvSpPr>
            <p:nvPr/>
          </p:nvSpPr>
          <p:spPr>
            <a:xfrm>
              <a:off x="401665" y="4363235"/>
              <a:ext cx="3269589" cy="3896230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4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r>
                <a:rPr lang="en-US" b="1" dirty="0">
                  <a:latin typeface="Helvetica Neue LT Pro 75" panose="020B0604020202020204" pitchFamily="34" charset="77"/>
                </a:rPr>
                <a:t>Syndicate data from different sources at the required level </a:t>
              </a:r>
              <a:r>
                <a:rPr lang="en-US" b="1" dirty="0">
                  <a:solidFill>
                    <a:srgbClr val="00B0F0"/>
                  </a:solidFill>
                  <a:latin typeface="Helvetica Neue LT Pro 75" panose="020B0604020202020204" pitchFamily="34" charset="77"/>
                </a:rPr>
                <a:t>(post/event/ demo/sales at week levels)</a:t>
              </a:r>
            </a:p>
            <a:p>
              <a:pPr marL="228589" indent="-228589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B0F0"/>
                  </a:solidFill>
                  <a:latin typeface="Helvetica Neue LT Pro 75" panose="020B0604020202020204" pitchFamily="34" charset="77"/>
                </a:rPr>
                <a:t>Paid Media (IG, FB &amp; Videos)</a:t>
              </a:r>
            </a:p>
            <a:p>
              <a:pPr marL="228589" indent="-228589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B0F0"/>
                  </a:solidFill>
                </a:rPr>
                <a:t>Owned Media (IG, FB, VK)</a:t>
              </a:r>
            </a:p>
            <a:p>
              <a:pPr marL="228589" indent="-228589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B0F0"/>
                  </a:solidFill>
                </a:rPr>
                <a:t>Events sampling </a:t>
              </a:r>
            </a:p>
            <a:p>
              <a:pPr marL="228589" indent="-228589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B0F0"/>
                  </a:solidFill>
                </a:rPr>
                <a:t>Instore demo data </a:t>
              </a:r>
            </a:p>
            <a:p>
              <a:pPr marL="228589" indent="-228589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B0F0"/>
                  </a:solidFill>
                </a:rPr>
                <a:t>RSV Data</a:t>
              </a:r>
            </a:p>
          </p:txBody>
        </p:sp>
        <p:sp>
          <p:nvSpPr>
            <p:cNvPr id="6" name="Text Placeholder 11">
              <a:extLst>
                <a:ext uri="{FF2B5EF4-FFF2-40B4-BE49-F238E27FC236}">
                  <a16:creationId xmlns:a16="http://schemas.microsoft.com/office/drawing/2014/main" id="{7817A9A6-BED4-7542-923E-294D1E410AE1}"/>
                </a:ext>
              </a:extLst>
            </p:cNvPr>
            <p:cNvSpPr txBox="1">
              <a:spLocks/>
            </p:cNvSpPr>
            <p:nvPr/>
          </p:nvSpPr>
          <p:spPr>
            <a:xfrm>
              <a:off x="8643937" y="3093606"/>
              <a:ext cx="3190875" cy="648131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>
                  <a:solidFill>
                    <a:schemeClr val="bg1"/>
                  </a:solidFill>
                  <a:latin typeface="Helvetica Neue LT Pro 75" panose="020B0604020202020204" pitchFamily="34" charset="77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/>
                <a:t>Key Lever Analysis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A125182-EB76-894E-8520-2D730B22B57A}"/>
                </a:ext>
              </a:extLst>
            </p:cNvPr>
            <p:cNvCxnSpPr>
              <a:cxnSpLocks/>
            </p:cNvCxnSpPr>
            <p:nvPr/>
          </p:nvCxnSpPr>
          <p:spPr>
            <a:xfrm>
              <a:off x="479769" y="3993000"/>
              <a:ext cx="2999155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9B525B1-0294-7744-B832-96D5A7E7A76F}"/>
                </a:ext>
              </a:extLst>
            </p:cNvPr>
            <p:cNvCxnSpPr>
              <a:cxnSpLocks/>
            </p:cNvCxnSpPr>
            <p:nvPr/>
          </p:nvCxnSpPr>
          <p:spPr>
            <a:xfrm>
              <a:off x="4589313" y="3993000"/>
              <a:ext cx="2999155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46261D6-EF46-6B4D-8CA7-B7F8AF56F7E1}"/>
                </a:ext>
              </a:extLst>
            </p:cNvPr>
            <p:cNvCxnSpPr>
              <a:cxnSpLocks/>
            </p:cNvCxnSpPr>
            <p:nvPr/>
          </p:nvCxnSpPr>
          <p:spPr>
            <a:xfrm>
              <a:off x="8730389" y="3993000"/>
              <a:ext cx="2999155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17" descr="A picture containing drawing, room&#10;&#10;Description automatically generated">
              <a:extLst>
                <a:ext uri="{FF2B5EF4-FFF2-40B4-BE49-F238E27FC236}">
                  <a16:creationId xmlns:a16="http://schemas.microsoft.com/office/drawing/2014/main" id="{42F37D90-53F4-44C2-A635-DE055DC9A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64368" y="996769"/>
              <a:ext cx="1665472" cy="1665472"/>
            </a:xfrm>
            <a:prstGeom prst="rect">
              <a:avLst/>
            </a:prstGeom>
          </p:spPr>
        </p:pic>
        <p:pic>
          <p:nvPicPr>
            <p:cNvPr id="20" name="Picture 19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570A39A2-2172-4E6F-A9FC-DEB915C04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1995" y="998033"/>
              <a:ext cx="1664208" cy="1664208"/>
            </a:xfrm>
            <a:prstGeom prst="rect">
              <a:avLst/>
            </a:prstGeom>
          </p:spPr>
        </p:pic>
        <p:pic>
          <p:nvPicPr>
            <p:cNvPr id="22" name="Picture 21" descr="A picture containing clock&#10;&#10;Description automatically generated">
              <a:extLst>
                <a:ext uri="{FF2B5EF4-FFF2-40B4-BE49-F238E27FC236}">
                  <a16:creationId xmlns:a16="http://schemas.microsoft.com/office/drawing/2014/main" id="{40A90AA5-E5A4-453D-B555-D05F7F95F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232564" y="996769"/>
              <a:ext cx="1664208" cy="1664208"/>
            </a:xfrm>
            <a:prstGeom prst="rect">
              <a:avLst/>
            </a:prstGeom>
          </p:spPr>
        </p:pic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7E7B676A-54F9-49B8-8DE2-2FB2DBCACF1E}"/>
                </a:ext>
              </a:extLst>
            </p:cNvPr>
            <p:cNvSpPr/>
            <p:nvPr/>
          </p:nvSpPr>
          <p:spPr>
            <a:xfrm>
              <a:off x="3567046" y="3116262"/>
              <a:ext cx="817503" cy="1503050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B08D707E-24BC-472B-A692-5221BC04CB8B}"/>
                </a:ext>
              </a:extLst>
            </p:cNvPr>
            <p:cNvSpPr/>
            <p:nvPr/>
          </p:nvSpPr>
          <p:spPr>
            <a:xfrm>
              <a:off x="7752818" y="3130876"/>
              <a:ext cx="817503" cy="1503050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Text Placeholder 11">
              <a:extLst>
                <a:ext uri="{FF2B5EF4-FFF2-40B4-BE49-F238E27FC236}">
                  <a16:creationId xmlns:a16="http://schemas.microsoft.com/office/drawing/2014/main" id="{BCB8E367-58E9-4F86-9E52-8059281F1C20}"/>
                </a:ext>
              </a:extLst>
            </p:cNvPr>
            <p:cNvSpPr txBox="1">
              <a:spLocks/>
            </p:cNvSpPr>
            <p:nvPr/>
          </p:nvSpPr>
          <p:spPr>
            <a:xfrm>
              <a:off x="12715874" y="3093605"/>
              <a:ext cx="3190875" cy="648131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800" b="1" i="0" kern="1200">
                  <a:solidFill>
                    <a:schemeClr val="bg1"/>
                  </a:solidFill>
                  <a:latin typeface="Helvetica Neue LT Pro 75" panose="020B0604020202020204" pitchFamily="34" charset="77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/>
                <a:t>Budget Allocation Optimization</a:t>
              </a:r>
            </a:p>
          </p:txBody>
        </p:sp>
        <p:sp>
          <p:nvSpPr>
            <p:cNvPr id="25" name="Text Placeholder 15">
              <a:extLst>
                <a:ext uri="{FF2B5EF4-FFF2-40B4-BE49-F238E27FC236}">
                  <a16:creationId xmlns:a16="http://schemas.microsoft.com/office/drawing/2014/main" id="{285FFE9B-61E7-423E-BEDF-F6DC05ACFCD1}"/>
                </a:ext>
              </a:extLst>
            </p:cNvPr>
            <p:cNvSpPr txBox="1">
              <a:spLocks/>
            </p:cNvSpPr>
            <p:nvPr/>
          </p:nvSpPr>
          <p:spPr>
            <a:xfrm>
              <a:off x="12715874" y="4378171"/>
              <a:ext cx="3190875" cy="827178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4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1500" dirty="0">
                  <a:latin typeface="Helvetica Neue LT Pro 75" panose="020B0604020202020204" pitchFamily="34" charset="77"/>
                </a:rPr>
                <a:t>Use </a:t>
              </a:r>
              <a:r>
                <a:rPr lang="en-US" sz="1500" b="1" dirty="0">
                  <a:latin typeface="Helvetica Neue LT Pro 75" panose="020B0604020202020204" pitchFamily="34" charset="77"/>
                </a:rPr>
                <a:t>simplex method</a:t>
              </a:r>
              <a:r>
                <a:rPr lang="en-US" sz="1500" dirty="0">
                  <a:latin typeface="Helvetica Neue LT Pro 75" panose="020B0604020202020204" pitchFamily="34" charset="77"/>
                </a:rPr>
                <a:t>, 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1500" dirty="0">
                  <a:latin typeface="Helvetica Neue LT Pro 75" panose="020B0604020202020204" pitchFamily="34" charset="77"/>
                </a:rPr>
                <a:t>a </a:t>
              </a:r>
              <a:r>
                <a:rPr lang="en-US" sz="1500" b="1" dirty="0">
                  <a:latin typeface="Helvetica Neue LT Pro 75" panose="020B0604020202020204" pitchFamily="34" charset="77"/>
                </a:rPr>
                <a:t>linear programming algorithm </a:t>
              </a:r>
              <a:r>
                <a:rPr lang="en-US" sz="1500" dirty="0">
                  <a:latin typeface="Helvetica Neue LT Pro 75" panose="020B0604020202020204" pitchFamily="34" charset="77"/>
                </a:rPr>
                <a:t>to </a:t>
              </a:r>
              <a:r>
                <a:rPr lang="en-US" sz="1500" b="1" dirty="0">
                  <a:latin typeface="Helvetica Neue LT Pro 75" panose="020B0604020202020204" pitchFamily="34" charset="77"/>
                </a:rPr>
                <a:t>optimize</a:t>
              </a:r>
              <a:r>
                <a:rPr lang="en-US" sz="1500" dirty="0">
                  <a:latin typeface="Helvetica Neue LT Pro 75" panose="020B0604020202020204" pitchFamily="34" charset="77"/>
                </a:rPr>
                <a:t> and </a:t>
              </a:r>
              <a:r>
                <a:rPr lang="en-US" sz="1500" b="1" dirty="0">
                  <a:latin typeface="Helvetica Neue LT Pro 75" panose="020B0604020202020204" pitchFamily="34" charset="77"/>
                </a:rPr>
                <a:t>allocate</a:t>
              </a:r>
              <a:r>
                <a:rPr lang="en-US" sz="1500" dirty="0">
                  <a:latin typeface="Helvetica Neue LT Pro 75" panose="020B0604020202020204" pitchFamily="34" charset="77"/>
                </a:rPr>
                <a:t> </a:t>
              </a:r>
              <a:r>
                <a:rPr lang="en-US" sz="1500" b="1" dirty="0">
                  <a:latin typeface="Helvetica Neue LT Pro 75" panose="020B0604020202020204" pitchFamily="34" charset="77"/>
                </a:rPr>
                <a:t>spending</a:t>
              </a:r>
              <a:r>
                <a:rPr lang="en-US" sz="1500" dirty="0">
                  <a:latin typeface="Helvetica Neue LT Pro 75" panose="020B0604020202020204" pitchFamily="34" charset="77"/>
                </a:rPr>
                <a:t> thereby</a:t>
              </a:r>
              <a:r>
                <a:rPr lang="en-US" sz="1500" b="1" dirty="0">
                  <a:latin typeface="Helvetica Neue LT Pro 75" panose="020B0604020202020204" pitchFamily="34" charset="77"/>
                </a:rPr>
                <a:t> maximizing sales</a:t>
              </a:r>
            </a:p>
          </p:txBody>
        </p:sp>
        <p:sp>
          <p:nvSpPr>
            <p:cNvPr id="31" name="Arrow: Chevron 30">
              <a:extLst>
                <a:ext uri="{FF2B5EF4-FFF2-40B4-BE49-F238E27FC236}">
                  <a16:creationId xmlns:a16="http://schemas.microsoft.com/office/drawing/2014/main" id="{2CEF9D45-382F-4CB8-8371-7D0258FA83EC}"/>
                </a:ext>
              </a:extLst>
            </p:cNvPr>
            <p:cNvSpPr/>
            <p:nvPr/>
          </p:nvSpPr>
          <p:spPr>
            <a:xfrm>
              <a:off x="11824755" y="3130876"/>
              <a:ext cx="817504" cy="1503050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2" name="Text Placeholder 15">
              <a:extLst>
                <a:ext uri="{FF2B5EF4-FFF2-40B4-BE49-F238E27FC236}">
                  <a16:creationId xmlns:a16="http://schemas.microsoft.com/office/drawing/2014/main" id="{C8984AA1-E337-49D2-8C2F-04F84DECE6D5}"/>
                </a:ext>
              </a:extLst>
            </p:cNvPr>
            <p:cNvSpPr txBox="1">
              <a:spLocks/>
            </p:cNvSpPr>
            <p:nvPr/>
          </p:nvSpPr>
          <p:spPr>
            <a:xfrm>
              <a:off x="8602101" y="4363235"/>
              <a:ext cx="3190875" cy="1187648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4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bg1"/>
                  </a:solidFill>
                  <a:latin typeface="Helvetica Neue LT Pro 55 Roman" panose="020B0604020202020204" pitchFamily="34" charset="77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dirty="0">
                  <a:latin typeface="Helvetica Neue LT Pro 75" panose="020B0604020202020204" pitchFamily="34" charset="77"/>
                </a:rPr>
                <a:t>Use</a:t>
              </a:r>
              <a:r>
                <a:rPr lang="en-US" b="1" dirty="0">
                  <a:latin typeface="Helvetica Neue LT Pro 75" panose="020B0604020202020204" pitchFamily="34" charset="77"/>
                </a:rPr>
                <a:t> supervised machine learning models (LASSO Regression) to identify key levers and their impact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endParaRPr lang="en-US" b="1" dirty="0">
                <a:solidFill>
                  <a:srgbClr val="00B0F0"/>
                </a:solidFill>
                <a:latin typeface="Helvetica Neue LT Pro 75" panose="020B0604020202020204" pitchFamily="34" charset="77"/>
              </a:endParaRPr>
            </a:p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b="1" dirty="0">
                  <a:solidFill>
                    <a:srgbClr val="00B0F0"/>
                  </a:solidFill>
                  <a:latin typeface="Helvetica Neue LT Pro 75" panose="020B0604020202020204" pitchFamily="34" charset="77"/>
                </a:rPr>
                <a:t>Identify, isolate, &amp; quantify </a:t>
              </a:r>
              <a:r>
                <a:rPr lang="en-US" dirty="0">
                  <a:solidFill>
                    <a:srgbClr val="00B0F0"/>
                  </a:solidFill>
                  <a:latin typeface="Helvetica Neue LT Pro 75" panose="020B0604020202020204" pitchFamily="34" charset="77"/>
                </a:rPr>
                <a:t>impact of key levers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F7B10DF6-6F3E-4ED1-A2CA-CE997B905D5D}"/>
                </a:ext>
              </a:extLst>
            </p:cNvPr>
            <p:cNvCxnSpPr>
              <a:cxnSpLocks/>
            </p:cNvCxnSpPr>
            <p:nvPr/>
          </p:nvCxnSpPr>
          <p:spPr>
            <a:xfrm>
              <a:off x="12907593" y="3993000"/>
              <a:ext cx="2999156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" name="Picture 2" descr="Image result for kind logo">
            <a:extLst>
              <a:ext uri="{FF2B5EF4-FFF2-40B4-BE49-F238E27FC236}">
                <a16:creationId xmlns:a16="http://schemas.microsoft.com/office/drawing/2014/main" id="{7A9BA9E6-8642-4DB2-8129-90D511271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5" y="5863"/>
            <a:ext cx="1108997" cy="74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B449EB5-0520-4696-A539-36177EAFBA6D}"/>
              </a:ext>
            </a:extLst>
          </p:cNvPr>
          <p:cNvSpPr txBox="1">
            <a:spLocks/>
          </p:cNvSpPr>
          <p:nvPr/>
        </p:nvSpPr>
        <p:spPr>
          <a:xfrm>
            <a:off x="1616261" y="132545"/>
            <a:ext cx="8857130" cy="890305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BFDF9BC-5B51-46B0-A54B-44E644DA0AD7}"/>
              </a:ext>
            </a:extLst>
          </p:cNvPr>
          <p:cNvSpPr txBox="1">
            <a:spLocks/>
          </p:cNvSpPr>
          <p:nvPr/>
        </p:nvSpPr>
        <p:spPr>
          <a:xfrm>
            <a:off x="1525755" y="53488"/>
            <a:ext cx="10058402" cy="890305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Methodology 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5DD5AFF9-0121-4D57-A2FE-858DE08291BE}"/>
              </a:ext>
            </a:extLst>
          </p:cNvPr>
          <p:cNvSpPr txBox="1">
            <a:spLocks/>
          </p:cNvSpPr>
          <p:nvPr/>
        </p:nvSpPr>
        <p:spPr>
          <a:xfrm>
            <a:off x="3267149" y="3749501"/>
            <a:ext cx="2401202" cy="292075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bg1"/>
                </a:solidFill>
                <a:latin typeface="Helvetica Neue LT Pro 55 Roman" panose="020B0604020202020204" pitchFamily="34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Helvetica Neue LT Pro 55 Roman" panose="020B0604020202020204" pitchFamily="34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1"/>
                </a:solidFill>
                <a:latin typeface="Helvetica Neue LT Pro 55 Roman" panose="020B0604020202020204" pitchFamily="34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Helvetica Neue LT Pro 55 Roman" panose="020B0604020202020204" pitchFamily="34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Helvetica Neue LT Pro 55 Roman" panose="020B0604020202020204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b="1" dirty="0">
                <a:latin typeface="Helvetica Neue LT Pro 75" panose="020B0604020202020204" pitchFamily="34" charset="77"/>
              </a:rPr>
              <a:t>Identify the </a:t>
            </a:r>
            <a:r>
              <a:rPr lang="en-US" b="1" dirty="0">
                <a:solidFill>
                  <a:srgbClr val="00B0F0"/>
                </a:solidFill>
                <a:latin typeface="Helvetica Neue LT Pro 75" panose="020B0604020202020204" pitchFamily="34" charset="77"/>
              </a:rPr>
              <a:t>right set of metric </a:t>
            </a:r>
            <a:r>
              <a:rPr lang="en-US" b="1" dirty="0">
                <a:latin typeface="Helvetica Neue LT Pro 75" panose="020B0604020202020204" pitchFamily="34" charset="77"/>
              </a:rPr>
              <a:t>to use in the supervised model based on different analysis like quality, </a:t>
            </a:r>
            <a:r>
              <a:rPr lang="en-US" b="1" dirty="0"/>
              <a:t>univariate, bivariate, correlation, etc.</a:t>
            </a:r>
            <a:endParaRPr lang="en-US" b="1" dirty="0">
              <a:latin typeface="Helvetica Neue LT Pro 75" panose="020B0604020202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732556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6DEE359-E549-4367-9A66-629E08112C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4400" dirty="0"/>
              <a:t>First level market insights</a:t>
            </a:r>
          </a:p>
        </p:txBody>
      </p:sp>
      <p:pic>
        <p:nvPicPr>
          <p:cNvPr id="4" name="Picture 2" descr="Image result for kind logo">
            <a:extLst>
              <a:ext uri="{FF2B5EF4-FFF2-40B4-BE49-F238E27FC236}">
                <a16:creationId xmlns:a16="http://schemas.microsoft.com/office/drawing/2014/main" id="{3974A65E-DBEA-4804-9A86-6CE06C1C3D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6" y="5863"/>
            <a:ext cx="1108997" cy="74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8064FE-A473-494F-9227-70DB74CDA0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9769" y="3044720"/>
            <a:ext cx="773299" cy="773299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5003AA56-708D-4FE5-995B-644D880514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2316" y="3040779"/>
            <a:ext cx="777240" cy="777240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EB4BFB87-C1C4-4163-BAB6-51B116BD8E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69831" y="3064754"/>
            <a:ext cx="777240" cy="77724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0A1AE27-9FA0-4214-93A8-E635F954E8CC}"/>
              </a:ext>
            </a:extLst>
          </p:cNvPr>
          <p:cNvSpPr txBox="1"/>
          <p:nvPr/>
        </p:nvSpPr>
        <p:spPr>
          <a:xfrm>
            <a:off x="4221557" y="3841994"/>
            <a:ext cx="898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Fran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6816C1-0BC4-4FD2-9791-C7A4D4EC7737}"/>
              </a:ext>
            </a:extLst>
          </p:cNvPr>
          <p:cNvSpPr txBox="1"/>
          <p:nvPr/>
        </p:nvSpPr>
        <p:spPr>
          <a:xfrm>
            <a:off x="5663841" y="3841994"/>
            <a:ext cx="777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Ital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6287FE-67E4-4E3D-B666-30547FF97CAB}"/>
              </a:ext>
            </a:extLst>
          </p:cNvPr>
          <p:cNvSpPr txBox="1"/>
          <p:nvPr/>
        </p:nvSpPr>
        <p:spPr>
          <a:xfrm>
            <a:off x="6721037" y="3841994"/>
            <a:ext cx="9320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Russia</a:t>
            </a:r>
          </a:p>
        </p:txBody>
      </p:sp>
    </p:spTree>
    <p:extLst>
      <p:ext uri="{BB962C8B-B14F-4D97-AF65-F5344CB8AC3E}">
        <p14:creationId xmlns:p14="http://schemas.microsoft.com/office/powerpoint/2010/main" val="40481543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32"/>
          <p:cNvSpPr/>
          <p:nvPr/>
        </p:nvSpPr>
        <p:spPr>
          <a:xfrm>
            <a:off x="3035430" y="1917447"/>
            <a:ext cx="8351065" cy="2258901"/>
          </a:xfrm>
          <a:custGeom>
            <a:avLst/>
            <a:gdLst>
              <a:gd name="connsiteX0" fmla="*/ 0 w 6618514"/>
              <a:gd name="connsiteY0" fmla="*/ 0 h 1426029"/>
              <a:gd name="connsiteX1" fmla="*/ 3113314 w 6618514"/>
              <a:gd name="connsiteY1" fmla="*/ 1164771 h 1426029"/>
              <a:gd name="connsiteX2" fmla="*/ 6618514 w 6618514"/>
              <a:gd name="connsiteY2" fmla="*/ 1426029 h 142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618514" h="1426029">
                <a:moveTo>
                  <a:pt x="0" y="0"/>
                </a:moveTo>
                <a:cubicBezTo>
                  <a:pt x="1005114" y="463550"/>
                  <a:pt x="2010228" y="927100"/>
                  <a:pt x="3113314" y="1164771"/>
                </a:cubicBezTo>
                <a:cubicBezTo>
                  <a:pt x="4216400" y="1402442"/>
                  <a:pt x="6337300" y="1389743"/>
                  <a:pt x="6618514" y="1426029"/>
                </a:cubicBezTo>
              </a:path>
            </a:pathLst>
          </a:custGeom>
          <a:noFill/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>
          <a:xfrm>
            <a:off x="3814332" y="1711609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AB79589-4F04-4BA3-97B2-B29ECC22F3A7}"/>
              </a:ext>
            </a:extLst>
          </p:cNvPr>
          <p:cNvSpPr/>
          <p:nvPr/>
        </p:nvSpPr>
        <p:spPr>
          <a:xfrm>
            <a:off x="1811639" y="1064318"/>
            <a:ext cx="9821566" cy="270355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Ranking of marketing levers based on volume uplift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552521" y="3229061"/>
            <a:ext cx="20610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Paid Media - Instagram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177360" y="3778013"/>
            <a:ext cx="21477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Owned Media - Instagram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0885C367-DC7F-4527-B68B-D35A35BADCD6}"/>
              </a:ext>
            </a:extLst>
          </p:cNvPr>
          <p:cNvSpPr/>
          <p:nvPr/>
        </p:nvSpPr>
        <p:spPr>
          <a:xfrm>
            <a:off x="2647050" y="1712926"/>
            <a:ext cx="549602" cy="32805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885C367-DC7F-4527-B68B-D35A35BADCD6}"/>
              </a:ext>
            </a:extLst>
          </p:cNvPr>
          <p:cNvSpPr/>
          <p:nvPr/>
        </p:nvSpPr>
        <p:spPr>
          <a:xfrm>
            <a:off x="8233737" y="3003110"/>
            <a:ext cx="499638" cy="31089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D245E3D-59A1-41E2-8CDB-7DD071B4D60E}"/>
              </a:ext>
            </a:extLst>
          </p:cNvPr>
          <p:cNvSpPr/>
          <p:nvPr/>
        </p:nvSpPr>
        <p:spPr>
          <a:xfrm>
            <a:off x="5127275" y="2344171"/>
            <a:ext cx="549602" cy="32917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7D02CDD-FE2C-4BAF-B40B-8D44387EDB7D}"/>
              </a:ext>
            </a:extLst>
          </p:cNvPr>
          <p:cNvSpPr/>
          <p:nvPr/>
        </p:nvSpPr>
        <p:spPr>
          <a:xfrm>
            <a:off x="10896643" y="3115111"/>
            <a:ext cx="499638" cy="32917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12F8DA9-959E-4768-92CA-E8F129809A70}"/>
              </a:ext>
            </a:extLst>
          </p:cNvPr>
          <p:cNvSpPr txBox="1"/>
          <p:nvPr/>
        </p:nvSpPr>
        <p:spPr>
          <a:xfrm>
            <a:off x="7226931" y="4530371"/>
            <a:ext cx="20610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Instore Demo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4E95F45-0F65-4F70-8457-B9D89E436DDE}"/>
              </a:ext>
            </a:extLst>
          </p:cNvPr>
          <p:cNvSpPr txBox="1"/>
          <p:nvPr/>
        </p:nvSpPr>
        <p:spPr>
          <a:xfrm>
            <a:off x="1811639" y="231641"/>
            <a:ext cx="97744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39">
              <a:defRPr/>
            </a:pPr>
            <a:r>
              <a:rPr lang="en-US" sz="2400" b="1" dirty="0">
                <a:solidFill>
                  <a:schemeClr val="bg1"/>
                </a:solidFill>
                <a:cs typeface="Marsfont"/>
              </a:rPr>
              <a:t>For same investment, Paid Media – Instagram will cause a greater impact compared to other levers</a:t>
            </a:r>
          </a:p>
        </p:txBody>
      </p:sp>
      <p:pic>
        <p:nvPicPr>
          <p:cNvPr id="31" name="Picture 30" descr="A picture containing person, building, man, woman&#10;&#10;Description automatically generated">
            <a:extLst>
              <a:ext uri="{FF2B5EF4-FFF2-40B4-BE49-F238E27FC236}">
                <a16:creationId xmlns:a16="http://schemas.microsoft.com/office/drawing/2014/main" id="{AF0D61B0-9008-4AA4-B221-AC3B9B358A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3777" y="3553718"/>
            <a:ext cx="1348138" cy="9543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7BCD90D4-01D5-458A-A668-BFDDB8B7E158}"/>
              </a:ext>
            </a:extLst>
          </p:cNvPr>
          <p:cNvSpPr txBox="1"/>
          <p:nvPr/>
        </p:nvSpPr>
        <p:spPr>
          <a:xfrm>
            <a:off x="10054682" y="4565895"/>
            <a:ext cx="20610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Event Sampl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7C97C60-AE19-491C-A815-96D5CCFB3CDD}"/>
              </a:ext>
            </a:extLst>
          </p:cNvPr>
          <p:cNvSpPr/>
          <p:nvPr/>
        </p:nvSpPr>
        <p:spPr>
          <a:xfrm>
            <a:off x="0" y="6118269"/>
            <a:ext cx="947388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*</a:t>
            </a:r>
            <a:r>
              <a:rPr lang="en-US" sz="1100" dirty="0">
                <a:solidFill>
                  <a:schemeClr val="bg1"/>
                </a:solidFill>
              </a:rPr>
              <a:t>The levers like proximity sampling, owned media –Facebook, paid media – Facebook, influencer marketing and SEA came out to be insignificant/inconclusive</a:t>
            </a:r>
          </a:p>
          <a:p>
            <a:r>
              <a:rPr lang="en-US" sz="1100" b="1" dirty="0">
                <a:solidFill>
                  <a:schemeClr val="bg1"/>
                </a:solidFill>
              </a:rPr>
              <a:t>*Volume uplift has been calculated using the baseline volume of 2750 units</a:t>
            </a:r>
          </a:p>
          <a:p>
            <a:r>
              <a:rPr lang="en-US" sz="1100" dirty="0">
                <a:solidFill>
                  <a:schemeClr val="bg1"/>
                </a:solidFill>
              </a:rPr>
              <a:t>*Results are based on immediate lift achieved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8D058AE-33F8-4657-9224-3A70C70DA86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06" t="11555" r="13990" b="7686"/>
          <a:stretch/>
        </p:blipFill>
        <p:spPr>
          <a:xfrm>
            <a:off x="1887553" y="2169804"/>
            <a:ext cx="1345595" cy="92427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5DD3B2F-1257-4B2B-B5A1-E05E3DD1AE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29788" y="3429000"/>
            <a:ext cx="1407899" cy="997689"/>
          </a:xfrm>
          <a:prstGeom prst="rect">
            <a:avLst/>
          </a:prstGeom>
        </p:spPr>
      </p:pic>
      <p:pic>
        <p:nvPicPr>
          <p:cNvPr id="22" name="Picture 2" descr="Image result for kind logo">
            <a:extLst>
              <a:ext uri="{FF2B5EF4-FFF2-40B4-BE49-F238E27FC236}">
                <a16:creationId xmlns:a16="http://schemas.microsoft.com/office/drawing/2014/main" id="{EE41CAE3-74BF-42F4-8D9E-71EDDAB24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6" y="5863"/>
            <a:ext cx="1108997" cy="74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6AFDC443-9DA4-4DF6-9079-83A6CA2961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9149" y="2763906"/>
            <a:ext cx="913582" cy="91358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2723D662-E96A-4FBB-938A-21F74F853C99}"/>
              </a:ext>
            </a:extLst>
          </p:cNvPr>
          <p:cNvSpPr txBox="1"/>
          <p:nvPr/>
        </p:nvSpPr>
        <p:spPr>
          <a:xfrm>
            <a:off x="65005" y="5126855"/>
            <a:ext cx="15916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B050"/>
                </a:solidFill>
              </a:rPr>
              <a:t>VOLUME LIFT at same investment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300A5D4-C31F-408F-8807-A02D2FDC57D1}"/>
              </a:ext>
            </a:extLst>
          </p:cNvPr>
          <p:cNvSpPr/>
          <p:nvPr/>
        </p:nvSpPr>
        <p:spPr>
          <a:xfrm>
            <a:off x="7482275" y="5119674"/>
            <a:ext cx="1558422" cy="533641"/>
          </a:xfrm>
          <a:prstGeom prst="roundRect">
            <a:avLst/>
          </a:prstGeom>
          <a:solidFill>
            <a:schemeClr val="bg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8BF57BB5-878B-4F3D-B5AD-5E769ED048F8}"/>
              </a:ext>
            </a:extLst>
          </p:cNvPr>
          <p:cNvSpPr/>
          <p:nvPr/>
        </p:nvSpPr>
        <p:spPr>
          <a:xfrm>
            <a:off x="4564519" y="5113263"/>
            <a:ext cx="1558422" cy="533641"/>
          </a:xfrm>
          <a:prstGeom prst="roundRect">
            <a:avLst/>
          </a:prstGeom>
          <a:solidFill>
            <a:schemeClr val="bg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1428BFF-8705-4ADF-9942-BB1C55963B79}"/>
              </a:ext>
            </a:extLst>
          </p:cNvPr>
          <p:cNvSpPr/>
          <p:nvPr/>
        </p:nvSpPr>
        <p:spPr>
          <a:xfrm>
            <a:off x="1811639" y="5126308"/>
            <a:ext cx="1558422" cy="533641"/>
          </a:xfrm>
          <a:prstGeom prst="roundRect">
            <a:avLst/>
          </a:prstGeom>
          <a:solidFill>
            <a:schemeClr val="bg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5C57F4B-CDD3-4FC5-B74E-A1DF0C048AA1}"/>
              </a:ext>
            </a:extLst>
          </p:cNvPr>
          <p:cNvGrpSpPr/>
          <p:nvPr/>
        </p:nvGrpSpPr>
        <p:grpSpPr>
          <a:xfrm>
            <a:off x="4874533" y="5208462"/>
            <a:ext cx="1303463" cy="369332"/>
            <a:chOff x="2486515" y="4683597"/>
            <a:chExt cx="1225144" cy="31460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A7341D0-BB8F-4BD0-8EA3-307297192217}"/>
                </a:ext>
              </a:extLst>
            </p:cNvPr>
            <p:cNvSpPr txBox="1"/>
            <p:nvPr/>
          </p:nvSpPr>
          <p:spPr>
            <a:xfrm>
              <a:off x="2486515" y="4683597"/>
              <a:ext cx="1225144" cy="3146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00B050"/>
                  </a:solidFill>
                </a:rPr>
                <a:t>3.5%</a:t>
              </a:r>
            </a:p>
          </p:txBody>
        </p:sp>
        <p:sp>
          <p:nvSpPr>
            <p:cNvPr id="43" name="Isosceles Triangle 42">
              <a:extLst>
                <a:ext uri="{FF2B5EF4-FFF2-40B4-BE49-F238E27FC236}">
                  <a16:creationId xmlns:a16="http://schemas.microsoft.com/office/drawing/2014/main" id="{C07F08BA-E698-49F3-97D0-7717EDC516C7}"/>
                </a:ext>
              </a:extLst>
            </p:cNvPr>
            <p:cNvSpPr/>
            <p:nvPr/>
          </p:nvSpPr>
          <p:spPr>
            <a:xfrm>
              <a:off x="2486515" y="4723455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33DC0BC-47F3-42B6-97C6-FE628D4AED14}"/>
              </a:ext>
            </a:extLst>
          </p:cNvPr>
          <p:cNvGrpSpPr/>
          <p:nvPr/>
        </p:nvGrpSpPr>
        <p:grpSpPr>
          <a:xfrm>
            <a:off x="2015505" y="5220623"/>
            <a:ext cx="1360402" cy="429452"/>
            <a:chOff x="2441628" y="4615079"/>
            <a:chExt cx="1278662" cy="369331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EF2DD22-02BF-4816-AD1D-90553A3B29D4}"/>
                </a:ext>
              </a:extLst>
            </p:cNvPr>
            <p:cNvSpPr txBox="1"/>
            <p:nvPr/>
          </p:nvSpPr>
          <p:spPr>
            <a:xfrm>
              <a:off x="2495146" y="4615079"/>
              <a:ext cx="1225144" cy="369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00B050"/>
                  </a:solidFill>
                </a:rPr>
                <a:t>8.4 %</a:t>
              </a:r>
            </a:p>
          </p:txBody>
        </p:sp>
        <p:sp>
          <p:nvSpPr>
            <p:cNvPr id="49" name="Isosceles Triangle 48">
              <a:extLst>
                <a:ext uri="{FF2B5EF4-FFF2-40B4-BE49-F238E27FC236}">
                  <a16:creationId xmlns:a16="http://schemas.microsoft.com/office/drawing/2014/main" id="{897AD5DD-ADE9-48E3-9B42-01DBA92D9FBC}"/>
                </a:ext>
              </a:extLst>
            </p:cNvPr>
            <p:cNvSpPr/>
            <p:nvPr/>
          </p:nvSpPr>
          <p:spPr>
            <a:xfrm>
              <a:off x="2441628" y="4659636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A6AC5E3-F253-49DB-AA86-117582E5B536}"/>
              </a:ext>
            </a:extLst>
          </p:cNvPr>
          <p:cNvGrpSpPr/>
          <p:nvPr/>
        </p:nvGrpSpPr>
        <p:grpSpPr>
          <a:xfrm>
            <a:off x="7737234" y="5210683"/>
            <a:ext cx="1303463" cy="369332"/>
            <a:chOff x="2456813" y="4680401"/>
            <a:chExt cx="1225144" cy="317627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D5C114A-CD32-407A-97CF-CAFC44ADD706}"/>
                </a:ext>
              </a:extLst>
            </p:cNvPr>
            <p:cNvSpPr txBox="1"/>
            <p:nvPr/>
          </p:nvSpPr>
          <p:spPr>
            <a:xfrm>
              <a:off x="2456813" y="4680401"/>
              <a:ext cx="1225144" cy="31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00B050"/>
                  </a:solidFill>
                </a:rPr>
                <a:t> 1.9%</a:t>
              </a:r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:a16="http://schemas.microsoft.com/office/drawing/2014/main" id="{AC66991B-6139-4C04-8A60-594CFF6DCF2C}"/>
                </a:ext>
              </a:extLst>
            </p:cNvPr>
            <p:cNvSpPr/>
            <p:nvPr/>
          </p:nvSpPr>
          <p:spPr>
            <a:xfrm>
              <a:off x="2486735" y="4735211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8E917789-419B-49DD-A9BD-C563D009913A}"/>
              </a:ext>
            </a:extLst>
          </p:cNvPr>
          <p:cNvSpPr/>
          <p:nvPr/>
        </p:nvSpPr>
        <p:spPr>
          <a:xfrm>
            <a:off x="10061481" y="5113263"/>
            <a:ext cx="1558422" cy="533641"/>
          </a:xfrm>
          <a:prstGeom prst="roundRect">
            <a:avLst/>
          </a:prstGeom>
          <a:solidFill>
            <a:schemeClr val="bg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7B8E3D0-3207-4D0E-A8DB-FF5C84276271}"/>
              </a:ext>
            </a:extLst>
          </p:cNvPr>
          <p:cNvGrpSpPr/>
          <p:nvPr/>
        </p:nvGrpSpPr>
        <p:grpSpPr>
          <a:xfrm>
            <a:off x="10329745" y="5193877"/>
            <a:ext cx="1303463" cy="369331"/>
            <a:chOff x="2469318" y="4671473"/>
            <a:chExt cx="1225144" cy="317627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F1930E7-5DB3-4ABC-9B2F-C97C32E58CF1}"/>
                </a:ext>
              </a:extLst>
            </p:cNvPr>
            <p:cNvSpPr txBox="1"/>
            <p:nvPr/>
          </p:nvSpPr>
          <p:spPr>
            <a:xfrm>
              <a:off x="2469318" y="4671473"/>
              <a:ext cx="1225144" cy="31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00B050"/>
                  </a:solidFill>
                </a:rPr>
                <a:t> 0.4%</a:t>
              </a:r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2A79508B-C825-41E3-AA72-AA24759979B3}"/>
                </a:ext>
              </a:extLst>
            </p:cNvPr>
            <p:cNvSpPr/>
            <p:nvPr/>
          </p:nvSpPr>
          <p:spPr>
            <a:xfrm>
              <a:off x="2486735" y="4735211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B25E523-7110-441B-AB0E-B99A4E8EBD66}"/>
              </a:ext>
            </a:extLst>
          </p:cNvPr>
          <p:cNvCxnSpPr>
            <a:cxnSpLocks/>
          </p:cNvCxnSpPr>
          <p:nvPr/>
        </p:nvCxnSpPr>
        <p:spPr>
          <a:xfrm>
            <a:off x="6781052" y="1733197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1088466-56B5-4829-AD89-4D9FEE023257}"/>
              </a:ext>
            </a:extLst>
          </p:cNvPr>
          <p:cNvCxnSpPr>
            <a:cxnSpLocks/>
          </p:cNvCxnSpPr>
          <p:nvPr/>
        </p:nvCxnSpPr>
        <p:spPr>
          <a:xfrm>
            <a:off x="9646172" y="1787309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5" name="Picture 44" descr="A picture containing drawing&#10;&#10;Description automatically generated">
            <a:extLst>
              <a:ext uri="{FF2B5EF4-FFF2-40B4-BE49-F238E27FC236}">
                <a16:creationId xmlns:a16="http://schemas.microsoft.com/office/drawing/2014/main" id="{AA70137D-44A6-4B12-A1F0-134E97FCB0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6116" y="926229"/>
            <a:ext cx="777240" cy="777240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66615058-B092-4426-B880-5B33A3F9390E}"/>
              </a:ext>
            </a:extLst>
          </p:cNvPr>
          <p:cNvSpPr txBox="1"/>
          <p:nvPr/>
        </p:nvSpPr>
        <p:spPr>
          <a:xfrm>
            <a:off x="335357" y="1727444"/>
            <a:ext cx="898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France</a:t>
            </a:r>
          </a:p>
        </p:txBody>
      </p:sp>
    </p:spTree>
    <p:extLst>
      <p:ext uri="{BB962C8B-B14F-4D97-AF65-F5344CB8AC3E}">
        <p14:creationId xmlns:p14="http://schemas.microsoft.com/office/powerpoint/2010/main" val="31277774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ACC4E771-D3A2-4404-BB9C-652B9006F3DA}"/>
              </a:ext>
            </a:extLst>
          </p:cNvPr>
          <p:cNvSpPr/>
          <p:nvPr/>
        </p:nvSpPr>
        <p:spPr>
          <a:xfrm>
            <a:off x="8029814" y="5499268"/>
            <a:ext cx="1558422" cy="533641"/>
          </a:xfrm>
          <a:prstGeom prst="roundRect">
            <a:avLst/>
          </a:prstGeom>
          <a:solidFill>
            <a:schemeClr val="bg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87168DBB-B840-49C3-B852-EA2FEF3CD077}"/>
              </a:ext>
            </a:extLst>
          </p:cNvPr>
          <p:cNvSpPr/>
          <p:nvPr/>
        </p:nvSpPr>
        <p:spPr>
          <a:xfrm>
            <a:off x="4903101" y="5521899"/>
            <a:ext cx="1558422" cy="533641"/>
          </a:xfrm>
          <a:prstGeom prst="roundRect">
            <a:avLst/>
          </a:prstGeom>
          <a:solidFill>
            <a:schemeClr val="bg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A5DB3CD8-E3A5-4576-9383-8A54FEBCB1EA}"/>
              </a:ext>
            </a:extLst>
          </p:cNvPr>
          <p:cNvSpPr/>
          <p:nvPr/>
        </p:nvSpPr>
        <p:spPr>
          <a:xfrm>
            <a:off x="1700162" y="5517538"/>
            <a:ext cx="1558422" cy="533641"/>
          </a:xfrm>
          <a:prstGeom prst="roundRect">
            <a:avLst/>
          </a:prstGeom>
          <a:solidFill>
            <a:schemeClr val="bg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 32"/>
          <p:cNvSpPr/>
          <p:nvPr/>
        </p:nvSpPr>
        <p:spPr>
          <a:xfrm>
            <a:off x="2741589" y="1964952"/>
            <a:ext cx="6704070" cy="1911807"/>
          </a:xfrm>
          <a:custGeom>
            <a:avLst/>
            <a:gdLst>
              <a:gd name="connsiteX0" fmla="*/ 0 w 6618514"/>
              <a:gd name="connsiteY0" fmla="*/ 0 h 1426029"/>
              <a:gd name="connsiteX1" fmla="*/ 3113314 w 6618514"/>
              <a:gd name="connsiteY1" fmla="*/ 1164771 h 1426029"/>
              <a:gd name="connsiteX2" fmla="*/ 6618514 w 6618514"/>
              <a:gd name="connsiteY2" fmla="*/ 1426029 h 142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618514" h="1426029">
                <a:moveTo>
                  <a:pt x="0" y="0"/>
                </a:moveTo>
                <a:cubicBezTo>
                  <a:pt x="1005114" y="463550"/>
                  <a:pt x="2010228" y="927100"/>
                  <a:pt x="3113314" y="1164771"/>
                </a:cubicBezTo>
                <a:cubicBezTo>
                  <a:pt x="4216400" y="1402442"/>
                  <a:pt x="6337300" y="1389743"/>
                  <a:pt x="6618514" y="1426029"/>
                </a:cubicBezTo>
              </a:path>
            </a:pathLst>
          </a:custGeom>
          <a:noFill/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>
          <a:xfrm>
            <a:off x="4104264" y="1696503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AB79589-4F04-4BA3-97B2-B29ECC22F3A7}"/>
              </a:ext>
            </a:extLst>
          </p:cNvPr>
          <p:cNvSpPr/>
          <p:nvPr/>
        </p:nvSpPr>
        <p:spPr>
          <a:xfrm>
            <a:off x="2044267" y="1064318"/>
            <a:ext cx="7997439" cy="270355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Ranking of marketing levers based on volume uplif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0885C367-DC7F-4527-B68B-D35A35BADCD6}"/>
              </a:ext>
            </a:extLst>
          </p:cNvPr>
          <p:cNvSpPr/>
          <p:nvPr/>
        </p:nvSpPr>
        <p:spPr>
          <a:xfrm>
            <a:off x="2532219" y="1741161"/>
            <a:ext cx="549602" cy="32805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885C367-DC7F-4527-B68B-D35A35BADCD6}"/>
              </a:ext>
            </a:extLst>
          </p:cNvPr>
          <p:cNvSpPr/>
          <p:nvPr/>
        </p:nvSpPr>
        <p:spPr>
          <a:xfrm>
            <a:off x="9228683" y="2893404"/>
            <a:ext cx="549602" cy="31089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D245E3D-59A1-41E2-8CDB-7DD071B4D60E}"/>
              </a:ext>
            </a:extLst>
          </p:cNvPr>
          <p:cNvSpPr/>
          <p:nvPr/>
        </p:nvSpPr>
        <p:spPr>
          <a:xfrm>
            <a:off x="5985005" y="2418064"/>
            <a:ext cx="549602" cy="32917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4E95F45-0F65-4F70-8457-B9D89E436DDE}"/>
              </a:ext>
            </a:extLst>
          </p:cNvPr>
          <p:cNvSpPr txBox="1"/>
          <p:nvPr/>
        </p:nvSpPr>
        <p:spPr>
          <a:xfrm>
            <a:off x="2044267" y="156711"/>
            <a:ext cx="79974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39">
              <a:defRPr/>
            </a:pPr>
            <a:r>
              <a:rPr lang="en-US" sz="2400" b="1" dirty="0">
                <a:solidFill>
                  <a:schemeClr val="bg1"/>
                </a:solidFill>
                <a:cs typeface="Marsfont"/>
              </a:rPr>
              <a:t>For same investment, Owned Media (IG) will cause a greater impact than compared to other levers</a:t>
            </a:r>
          </a:p>
        </p:txBody>
      </p:sp>
      <p:pic>
        <p:nvPicPr>
          <p:cNvPr id="22" name="Picture 2" descr="Image result for kind logo">
            <a:extLst>
              <a:ext uri="{FF2B5EF4-FFF2-40B4-BE49-F238E27FC236}">
                <a16:creationId xmlns:a16="http://schemas.microsoft.com/office/drawing/2014/main" id="{EE41CAE3-74BF-42F4-8D9E-71EDDAB24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6" y="5863"/>
            <a:ext cx="1108997" cy="74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25C57F4B-CDD3-4FC5-B74E-A1DF0C048AA1}"/>
              </a:ext>
            </a:extLst>
          </p:cNvPr>
          <p:cNvGrpSpPr/>
          <p:nvPr/>
        </p:nvGrpSpPr>
        <p:grpSpPr>
          <a:xfrm>
            <a:off x="5237471" y="5647756"/>
            <a:ext cx="1381979" cy="369332"/>
            <a:chOff x="2482549" y="4678929"/>
            <a:chExt cx="1298942" cy="31460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A7341D0-BB8F-4BD0-8EA3-307297192217}"/>
                </a:ext>
              </a:extLst>
            </p:cNvPr>
            <p:cNvSpPr txBox="1"/>
            <p:nvPr/>
          </p:nvSpPr>
          <p:spPr>
            <a:xfrm>
              <a:off x="2556347" y="4678929"/>
              <a:ext cx="1225144" cy="3146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00B050"/>
                  </a:solidFill>
                </a:rPr>
                <a:t>4.4 %</a:t>
              </a:r>
            </a:p>
          </p:txBody>
        </p:sp>
        <p:sp>
          <p:nvSpPr>
            <p:cNvPr id="43" name="Isosceles Triangle 42">
              <a:extLst>
                <a:ext uri="{FF2B5EF4-FFF2-40B4-BE49-F238E27FC236}">
                  <a16:creationId xmlns:a16="http://schemas.microsoft.com/office/drawing/2014/main" id="{C07F08BA-E698-49F3-97D0-7717EDC516C7}"/>
                </a:ext>
              </a:extLst>
            </p:cNvPr>
            <p:cNvSpPr/>
            <p:nvPr/>
          </p:nvSpPr>
          <p:spPr>
            <a:xfrm>
              <a:off x="2482549" y="4743024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33DC0BC-47F3-42B6-97C6-FE628D4AED14}"/>
              </a:ext>
            </a:extLst>
          </p:cNvPr>
          <p:cNvGrpSpPr/>
          <p:nvPr/>
        </p:nvGrpSpPr>
        <p:grpSpPr>
          <a:xfrm>
            <a:off x="1987329" y="5635830"/>
            <a:ext cx="1360402" cy="369331"/>
            <a:chOff x="2441628" y="4615079"/>
            <a:chExt cx="1278662" cy="317627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EF2DD22-02BF-4816-AD1D-90553A3B29D4}"/>
                </a:ext>
              </a:extLst>
            </p:cNvPr>
            <p:cNvSpPr txBox="1"/>
            <p:nvPr/>
          </p:nvSpPr>
          <p:spPr>
            <a:xfrm>
              <a:off x="2495146" y="4615079"/>
              <a:ext cx="1225144" cy="31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B050"/>
                  </a:solidFill>
                </a:rPr>
                <a:t>16 %</a:t>
              </a:r>
            </a:p>
          </p:txBody>
        </p:sp>
        <p:sp>
          <p:nvSpPr>
            <p:cNvPr id="49" name="Isosceles Triangle 48">
              <a:extLst>
                <a:ext uri="{FF2B5EF4-FFF2-40B4-BE49-F238E27FC236}">
                  <a16:creationId xmlns:a16="http://schemas.microsoft.com/office/drawing/2014/main" id="{897AD5DD-ADE9-48E3-9B42-01DBA92D9FBC}"/>
                </a:ext>
              </a:extLst>
            </p:cNvPr>
            <p:cNvSpPr/>
            <p:nvPr/>
          </p:nvSpPr>
          <p:spPr>
            <a:xfrm>
              <a:off x="2441628" y="4659636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A6AC5E3-F253-49DB-AA86-117582E5B536}"/>
              </a:ext>
            </a:extLst>
          </p:cNvPr>
          <p:cNvGrpSpPr/>
          <p:nvPr/>
        </p:nvGrpSpPr>
        <p:grpSpPr>
          <a:xfrm>
            <a:off x="8317749" y="5607700"/>
            <a:ext cx="1322617" cy="369332"/>
            <a:chOff x="2486515" y="4664306"/>
            <a:chExt cx="1243147" cy="317627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D5C114A-CD32-407A-97CF-CAFC44ADD706}"/>
                </a:ext>
              </a:extLst>
            </p:cNvPr>
            <p:cNvSpPr txBox="1"/>
            <p:nvPr/>
          </p:nvSpPr>
          <p:spPr>
            <a:xfrm>
              <a:off x="2504518" y="4664306"/>
              <a:ext cx="1225144" cy="31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B050"/>
                  </a:solidFill>
                </a:rPr>
                <a:t> 1.7 %</a:t>
              </a:r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:a16="http://schemas.microsoft.com/office/drawing/2014/main" id="{AC66991B-6139-4C04-8A60-594CFF6DCF2C}"/>
                </a:ext>
              </a:extLst>
            </p:cNvPr>
            <p:cNvSpPr/>
            <p:nvPr/>
          </p:nvSpPr>
          <p:spPr>
            <a:xfrm>
              <a:off x="2486515" y="4736040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B25E523-7110-441B-AB0E-B99A4E8EBD66}"/>
              </a:ext>
            </a:extLst>
          </p:cNvPr>
          <p:cNvCxnSpPr>
            <a:cxnSpLocks/>
          </p:cNvCxnSpPr>
          <p:nvPr/>
        </p:nvCxnSpPr>
        <p:spPr>
          <a:xfrm>
            <a:off x="7271706" y="1738773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1BC02A69-9A11-4092-B7F4-9602E982CBF6}"/>
              </a:ext>
            </a:extLst>
          </p:cNvPr>
          <p:cNvSpPr txBox="1"/>
          <p:nvPr/>
        </p:nvSpPr>
        <p:spPr>
          <a:xfrm>
            <a:off x="4797312" y="4143418"/>
            <a:ext cx="17753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Instore Demos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CBF9E346-F26B-4B82-B800-5A1B7B3EC7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2722" y="2823264"/>
            <a:ext cx="1725400" cy="1222682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FE7B5E8C-E894-4638-9AC8-AEE2090EA607}"/>
              </a:ext>
            </a:extLst>
          </p:cNvPr>
          <p:cNvSpPr txBox="1"/>
          <p:nvPr/>
        </p:nvSpPr>
        <p:spPr>
          <a:xfrm>
            <a:off x="1384245" y="3220930"/>
            <a:ext cx="22267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Owned Media - Instagra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9BF976D-90D6-44E3-9377-7495CDEE6B1A}"/>
              </a:ext>
            </a:extLst>
          </p:cNvPr>
          <p:cNvSpPr txBox="1"/>
          <p:nvPr/>
        </p:nvSpPr>
        <p:spPr>
          <a:xfrm>
            <a:off x="7974003" y="4544162"/>
            <a:ext cx="17753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ent Sampling</a:t>
            </a:r>
          </a:p>
        </p:txBody>
      </p:sp>
      <p:pic>
        <p:nvPicPr>
          <p:cNvPr id="46" name="Picture 45" descr="A picture containing person, building, man, woman&#10;&#10;Description automatically generated">
            <a:extLst>
              <a:ext uri="{FF2B5EF4-FFF2-40B4-BE49-F238E27FC236}">
                <a16:creationId xmlns:a16="http://schemas.microsoft.com/office/drawing/2014/main" id="{00913E9E-7D4F-4310-BBEE-F203590ADC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45879" y="3276594"/>
            <a:ext cx="1729042" cy="1223930"/>
          </a:xfrm>
          <a:prstGeom prst="rect">
            <a:avLst/>
          </a:prstGeom>
        </p:spPr>
      </p:pic>
      <p:pic>
        <p:nvPicPr>
          <p:cNvPr id="53" name="Picture 52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7E7D74-7C46-4C27-8A4B-3B29A81D38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68810" y="2173384"/>
            <a:ext cx="913582" cy="913582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E5FAE259-AF51-4CD0-9ACB-51979072DBFE}"/>
              </a:ext>
            </a:extLst>
          </p:cNvPr>
          <p:cNvSpPr/>
          <p:nvPr/>
        </p:nvSpPr>
        <p:spPr>
          <a:xfrm>
            <a:off x="123868" y="6169973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>
                <a:solidFill>
                  <a:srgbClr val="FFFFFF"/>
                </a:solidFill>
              </a:rPr>
              <a:t>*</a:t>
            </a:r>
            <a:r>
              <a:rPr lang="en-US" sz="1100" i="1" dirty="0">
                <a:solidFill>
                  <a:srgbClr val="FFFFFF"/>
                </a:solidFill>
              </a:rPr>
              <a:t>The levers like proximity sampling, paid media &amp; influencer marketing came out to be inconclusive</a:t>
            </a:r>
            <a:endParaRPr lang="en-US" sz="1200" dirty="0">
              <a:solidFill>
                <a:schemeClr val="bg1"/>
              </a:solidFill>
            </a:endParaRPr>
          </a:p>
          <a:p>
            <a:r>
              <a:rPr lang="en-US" sz="1100" b="1" dirty="0">
                <a:solidFill>
                  <a:schemeClr val="bg1"/>
                </a:solidFill>
              </a:rPr>
              <a:t>*Volume uplift has been calculated using the baseline volume of 1010 units</a:t>
            </a:r>
          </a:p>
          <a:p>
            <a:r>
              <a:rPr lang="en-US" sz="1000" dirty="0">
                <a:solidFill>
                  <a:schemeClr val="bg1"/>
                </a:solidFill>
              </a:rPr>
              <a:t>*Results are based on immediate lift achieved</a:t>
            </a:r>
          </a:p>
        </p:txBody>
      </p:sp>
      <p:pic>
        <p:nvPicPr>
          <p:cNvPr id="34" name="Picture 3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11C9605-1601-4165-9176-337ED51B3B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4219" y="1063520"/>
            <a:ext cx="773299" cy="773299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D7D10A79-F081-42D8-88C6-AEA8D91C6806}"/>
              </a:ext>
            </a:extLst>
          </p:cNvPr>
          <p:cNvSpPr txBox="1"/>
          <p:nvPr/>
        </p:nvSpPr>
        <p:spPr>
          <a:xfrm>
            <a:off x="415487" y="1860794"/>
            <a:ext cx="9320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Russia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41411C9-C397-48F0-89FB-37F4F78BF8F2}"/>
              </a:ext>
            </a:extLst>
          </p:cNvPr>
          <p:cNvSpPr txBox="1"/>
          <p:nvPr/>
        </p:nvSpPr>
        <p:spPr>
          <a:xfrm>
            <a:off x="65005" y="5565005"/>
            <a:ext cx="15916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B050"/>
                </a:solidFill>
              </a:rPr>
              <a:t>VOLUME LIFT at same investment</a:t>
            </a:r>
          </a:p>
        </p:txBody>
      </p:sp>
    </p:spTree>
    <p:extLst>
      <p:ext uri="{BB962C8B-B14F-4D97-AF65-F5344CB8AC3E}">
        <p14:creationId xmlns:p14="http://schemas.microsoft.com/office/powerpoint/2010/main" val="41568875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32"/>
          <p:cNvSpPr/>
          <p:nvPr/>
        </p:nvSpPr>
        <p:spPr>
          <a:xfrm>
            <a:off x="2928468" y="1516540"/>
            <a:ext cx="6761397" cy="2360219"/>
          </a:xfrm>
          <a:custGeom>
            <a:avLst/>
            <a:gdLst>
              <a:gd name="connsiteX0" fmla="*/ 0 w 6618514"/>
              <a:gd name="connsiteY0" fmla="*/ 0 h 1426029"/>
              <a:gd name="connsiteX1" fmla="*/ 3113314 w 6618514"/>
              <a:gd name="connsiteY1" fmla="*/ 1164771 h 1426029"/>
              <a:gd name="connsiteX2" fmla="*/ 6618514 w 6618514"/>
              <a:gd name="connsiteY2" fmla="*/ 1426029 h 142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618514" h="1426029">
                <a:moveTo>
                  <a:pt x="0" y="0"/>
                </a:moveTo>
                <a:cubicBezTo>
                  <a:pt x="1005114" y="463550"/>
                  <a:pt x="2010228" y="927100"/>
                  <a:pt x="3113314" y="1164771"/>
                </a:cubicBezTo>
                <a:cubicBezTo>
                  <a:pt x="4216400" y="1402442"/>
                  <a:pt x="6337300" y="1389743"/>
                  <a:pt x="6618514" y="1426029"/>
                </a:cubicBezTo>
              </a:path>
            </a:pathLst>
          </a:custGeom>
          <a:noFill/>
          <a:ln w="508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>
          <a:xfrm>
            <a:off x="4104264" y="1696503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AB79589-4F04-4BA3-97B2-B29ECC22F3A7}"/>
              </a:ext>
            </a:extLst>
          </p:cNvPr>
          <p:cNvSpPr/>
          <p:nvPr/>
        </p:nvSpPr>
        <p:spPr>
          <a:xfrm>
            <a:off x="1738263" y="1064318"/>
            <a:ext cx="8150791" cy="270355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Ranking of marketing levers based on volume uplift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0885C367-DC7F-4527-B68B-D35A35BADCD6}"/>
              </a:ext>
            </a:extLst>
          </p:cNvPr>
          <p:cNvSpPr/>
          <p:nvPr/>
        </p:nvSpPr>
        <p:spPr>
          <a:xfrm>
            <a:off x="2691963" y="1467943"/>
            <a:ext cx="549602" cy="32805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885C367-DC7F-4527-B68B-D35A35BADCD6}"/>
              </a:ext>
            </a:extLst>
          </p:cNvPr>
          <p:cNvSpPr/>
          <p:nvPr/>
        </p:nvSpPr>
        <p:spPr>
          <a:xfrm>
            <a:off x="9152380" y="2743269"/>
            <a:ext cx="549602" cy="31089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D245E3D-59A1-41E2-8CDB-7DD071B4D60E}"/>
              </a:ext>
            </a:extLst>
          </p:cNvPr>
          <p:cNvSpPr/>
          <p:nvPr/>
        </p:nvSpPr>
        <p:spPr>
          <a:xfrm>
            <a:off x="6024655" y="2150156"/>
            <a:ext cx="549602" cy="32917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4E95F45-0F65-4F70-8457-B9D89E436DDE}"/>
              </a:ext>
            </a:extLst>
          </p:cNvPr>
          <p:cNvSpPr txBox="1"/>
          <p:nvPr/>
        </p:nvSpPr>
        <p:spPr>
          <a:xfrm>
            <a:off x="1738262" y="117394"/>
            <a:ext cx="81507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39">
              <a:defRPr/>
            </a:pPr>
            <a:r>
              <a:rPr lang="en-US" sz="2400" b="1" dirty="0">
                <a:solidFill>
                  <a:schemeClr val="bg1"/>
                </a:solidFill>
                <a:cs typeface="Marsfont"/>
              </a:rPr>
              <a:t>For same investment, Influencer Marketing will cause a greater impact than compared to other levers</a:t>
            </a:r>
          </a:p>
        </p:txBody>
      </p:sp>
      <p:pic>
        <p:nvPicPr>
          <p:cNvPr id="22" name="Picture 2" descr="Image result for kind logo">
            <a:extLst>
              <a:ext uri="{FF2B5EF4-FFF2-40B4-BE49-F238E27FC236}">
                <a16:creationId xmlns:a16="http://schemas.microsoft.com/office/drawing/2014/main" id="{EE41CAE3-74BF-42F4-8D9E-71EDDAB24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6" y="5863"/>
            <a:ext cx="1108997" cy="74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300A5D4-C31F-408F-8807-A02D2FDC57D1}"/>
              </a:ext>
            </a:extLst>
          </p:cNvPr>
          <p:cNvSpPr/>
          <p:nvPr/>
        </p:nvSpPr>
        <p:spPr>
          <a:xfrm>
            <a:off x="8163164" y="5346868"/>
            <a:ext cx="1558422" cy="533641"/>
          </a:xfrm>
          <a:prstGeom prst="roundRect">
            <a:avLst/>
          </a:prstGeom>
          <a:solidFill>
            <a:schemeClr val="bg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8BF57BB5-878B-4F3D-B5AD-5E769ED048F8}"/>
              </a:ext>
            </a:extLst>
          </p:cNvPr>
          <p:cNvSpPr/>
          <p:nvPr/>
        </p:nvSpPr>
        <p:spPr>
          <a:xfrm>
            <a:off x="4931676" y="5369499"/>
            <a:ext cx="1558422" cy="533641"/>
          </a:xfrm>
          <a:prstGeom prst="roundRect">
            <a:avLst/>
          </a:prstGeom>
          <a:solidFill>
            <a:schemeClr val="bg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1428BFF-8705-4ADF-9942-BB1C55963B79}"/>
              </a:ext>
            </a:extLst>
          </p:cNvPr>
          <p:cNvSpPr/>
          <p:nvPr/>
        </p:nvSpPr>
        <p:spPr>
          <a:xfrm>
            <a:off x="1738262" y="5365138"/>
            <a:ext cx="1558422" cy="533641"/>
          </a:xfrm>
          <a:prstGeom prst="roundRect">
            <a:avLst/>
          </a:prstGeom>
          <a:solidFill>
            <a:schemeClr val="bg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5C57F4B-CDD3-4FC5-B74E-A1DF0C048AA1}"/>
              </a:ext>
            </a:extLst>
          </p:cNvPr>
          <p:cNvGrpSpPr/>
          <p:nvPr/>
        </p:nvGrpSpPr>
        <p:grpSpPr>
          <a:xfrm>
            <a:off x="5237471" y="5459218"/>
            <a:ext cx="1381979" cy="369332"/>
            <a:chOff x="2482549" y="4678929"/>
            <a:chExt cx="1298942" cy="31460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A7341D0-BB8F-4BD0-8EA3-307297192217}"/>
                </a:ext>
              </a:extLst>
            </p:cNvPr>
            <p:cNvSpPr txBox="1"/>
            <p:nvPr/>
          </p:nvSpPr>
          <p:spPr>
            <a:xfrm>
              <a:off x="2556347" y="4678929"/>
              <a:ext cx="1225144" cy="3146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00B050"/>
                  </a:solidFill>
                </a:rPr>
                <a:t>0.64 %</a:t>
              </a:r>
            </a:p>
          </p:txBody>
        </p:sp>
        <p:sp>
          <p:nvSpPr>
            <p:cNvPr id="43" name="Isosceles Triangle 42">
              <a:extLst>
                <a:ext uri="{FF2B5EF4-FFF2-40B4-BE49-F238E27FC236}">
                  <a16:creationId xmlns:a16="http://schemas.microsoft.com/office/drawing/2014/main" id="{C07F08BA-E698-49F3-97D0-7717EDC516C7}"/>
                </a:ext>
              </a:extLst>
            </p:cNvPr>
            <p:cNvSpPr/>
            <p:nvPr/>
          </p:nvSpPr>
          <p:spPr>
            <a:xfrm>
              <a:off x="2482549" y="4743024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33DC0BC-47F3-42B6-97C6-FE628D4AED14}"/>
              </a:ext>
            </a:extLst>
          </p:cNvPr>
          <p:cNvGrpSpPr/>
          <p:nvPr/>
        </p:nvGrpSpPr>
        <p:grpSpPr>
          <a:xfrm>
            <a:off x="1987329" y="5447292"/>
            <a:ext cx="1360402" cy="369331"/>
            <a:chOff x="2441628" y="4615079"/>
            <a:chExt cx="1278662" cy="317627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EF2DD22-02BF-4816-AD1D-90553A3B29D4}"/>
                </a:ext>
              </a:extLst>
            </p:cNvPr>
            <p:cNvSpPr txBox="1"/>
            <p:nvPr/>
          </p:nvSpPr>
          <p:spPr>
            <a:xfrm>
              <a:off x="2495146" y="4615079"/>
              <a:ext cx="1225144" cy="31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00B050"/>
                  </a:solidFill>
                </a:rPr>
                <a:t>0.71 %</a:t>
              </a:r>
            </a:p>
          </p:txBody>
        </p:sp>
        <p:sp>
          <p:nvSpPr>
            <p:cNvPr id="49" name="Isosceles Triangle 48">
              <a:extLst>
                <a:ext uri="{FF2B5EF4-FFF2-40B4-BE49-F238E27FC236}">
                  <a16:creationId xmlns:a16="http://schemas.microsoft.com/office/drawing/2014/main" id="{897AD5DD-ADE9-48E3-9B42-01DBA92D9FBC}"/>
                </a:ext>
              </a:extLst>
            </p:cNvPr>
            <p:cNvSpPr/>
            <p:nvPr/>
          </p:nvSpPr>
          <p:spPr>
            <a:xfrm>
              <a:off x="2441628" y="4659636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A6AC5E3-F253-49DB-AA86-117582E5B536}"/>
              </a:ext>
            </a:extLst>
          </p:cNvPr>
          <p:cNvGrpSpPr/>
          <p:nvPr/>
        </p:nvGrpSpPr>
        <p:grpSpPr>
          <a:xfrm>
            <a:off x="8449724" y="5419162"/>
            <a:ext cx="1322617" cy="369332"/>
            <a:chOff x="2486515" y="4664306"/>
            <a:chExt cx="1243147" cy="317627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D5C114A-CD32-407A-97CF-CAFC44ADD706}"/>
                </a:ext>
              </a:extLst>
            </p:cNvPr>
            <p:cNvSpPr txBox="1"/>
            <p:nvPr/>
          </p:nvSpPr>
          <p:spPr>
            <a:xfrm>
              <a:off x="2504518" y="4664306"/>
              <a:ext cx="1225144" cy="31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00B050"/>
                  </a:solidFill>
                </a:rPr>
                <a:t> 0.40 %</a:t>
              </a:r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:a16="http://schemas.microsoft.com/office/drawing/2014/main" id="{AC66991B-6139-4C04-8A60-594CFF6DCF2C}"/>
                </a:ext>
              </a:extLst>
            </p:cNvPr>
            <p:cNvSpPr/>
            <p:nvPr/>
          </p:nvSpPr>
          <p:spPr>
            <a:xfrm>
              <a:off x="2486515" y="4736040"/>
              <a:ext cx="285815" cy="191119"/>
            </a:xfrm>
            <a:prstGeom prst="triangl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B25E523-7110-441B-AB0E-B99A4E8EBD66}"/>
              </a:ext>
            </a:extLst>
          </p:cNvPr>
          <p:cNvCxnSpPr>
            <a:cxnSpLocks/>
          </p:cNvCxnSpPr>
          <p:nvPr/>
        </p:nvCxnSpPr>
        <p:spPr>
          <a:xfrm>
            <a:off x="7271706" y="1738773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CB8E7272-A0CC-4280-AD26-C68E7D2C233D}"/>
              </a:ext>
            </a:extLst>
          </p:cNvPr>
          <p:cNvSpPr txBox="1"/>
          <p:nvPr/>
        </p:nvSpPr>
        <p:spPr>
          <a:xfrm>
            <a:off x="1410687" y="3399474"/>
            <a:ext cx="20610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Influencer Marketing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8259AC41-A5BB-401C-A719-B4BC1D9548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7731" y="1869028"/>
            <a:ext cx="2095157" cy="1471700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1BC02A69-9A11-4092-B7F4-9602E982CBF6}"/>
              </a:ext>
            </a:extLst>
          </p:cNvPr>
          <p:cNvSpPr txBox="1"/>
          <p:nvPr/>
        </p:nvSpPr>
        <p:spPr>
          <a:xfrm>
            <a:off x="4797312" y="3926601"/>
            <a:ext cx="17753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Instore Demos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CBF9E346-F26B-4B82-B800-5A1B7B3EC7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62722" y="2606447"/>
            <a:ext cx="1725400" cy="122268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65079EA7-CF98-4D60-BFA5-F40A0EE4797D}"/>
              </a:ext>
            </a:extLst>
          </p:cNvPr>
          <p:cNvSpPr/>
          <p:nvPr/>
        </p:nvSpPr>
        <p:spPr>
          <a:xfrm>
            <a:off x="32889" y="6182066"/>
            <a:ext cx="8105273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67" dirty="0">
                <a:solidFill>
                  <a:schemeClr val="bg1"/>
                </a:solidFill>
              </a:rPr>
              <a:t>*The levers like Event sampling, proximity sampling, owned media &amp; Paid Media (IG &amp; FB) came out to be inconclusiv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88EAAE0-E948-43FD-98EE-2C5BC47C958A}"/>
              </a:ext>
            </a:extLst>
          </p:cNvPr>
          <p:cNvSpPr txBox="1"/>
          <p:nvPr/>
        </p:nvSpPr>
        <p:spPr>
          <a:xfrm>
            <a:off x="6153889" y="6480576"/>
            <a:ext cx="6156763" cy="226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39">
              <a:lnSpc>
                <a:spcPct val="80000"/>
              </a:lnSpc>
              <a:defRPr/>
            </a:pPr>
            <a:r>
              <a:rPr lang="en-US" sz="1067" i="1" dirty="0">
                <a:solidFill>
                  <a:schemeClr val="bg1"/>
                </a:solidFill>
                <a:cs typeface="Marsfont"/>
              </a:rPr>
              <a:t>*Italy has been analyzed for total category and only limited KIND sales are captured in </a:t>
            </a:r>
            <a:r>
              <a:rPr lang="en-US" sz="1067" i="1" dirty="0" err="1">
                <a:solidFill>
                  <a:schemeClr val="bg1"/>
                </a:solidFill>
                <a:cs typeface="Marsfont"/>
              </a:rPr>
              <a:t>Neilsen</a:t>
            </a:r>
            <a:r>
              <a:rPr lang="en-US" sz="1067" i="1" dirty="0">
                <a:solidFill>
                  <a:schemeClr val="bg1"/>
                </a:solidFill>
                <a:cs typeface="Marsfont"/>
              </a:rPr>
              <a:t> database</a:t>
            </a:r>
          </a:p>
        </p:txBody>
      </p:sp>
      <p:pic>
        <p:nvPicPr>
          <p:cNvPr id="66" name="Picture 65" descr="A picture containing table, indoor, desk, computer&#10;&#10;Description automatically generated">
            <a:extLst>
              <a:ext uri="{FF2B5EF4-FFF2-40B4-BE49-F238E27FC236}">
                <a16:creationId xmlns:a16="http://schemas.microsoft.com/office/drawing/2014/main" id="{31A2E4B3-7839-4A06-BABA-C2C7000C6D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14586" y="3183837"/>
            <a:ext cx="1475294" cy="1107674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FE7B5E8C-E894-4638-9AC8-AEE2090EA607}"/>
              </a:ext>
            </a:extLst>
          </p:cNvPr>
          <p:cNvSpPr txBox="1"/>
          <p:nvPr/>
        </p:nvSpPr>
        <p:spPr>
          <a:xfrm>
            <a:off x="8015411" y="4363805"/>
            <a:ext cx="18736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Paid Media Display/Video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2D2F942-D1D1-49EC-A522-DD2D8A03FBB0}"/>
              </a:ext>
            </a:extLst>
          </p:cNvPr>
          <p:cNvSpPr/>
          <p:nvPr/>
        </p:nvSpPr>
        <p:spPr>
          <a:xfrm>
            <a:off x="57889" y="6363827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*Volume uplift has been calculated using the baseline volume of 4533 units</a:t>
            </a:r>
          </a:p>
          <a:p>
            <a:r>
              <a:rPr lang="en-US" sz="1000" dirty="0">
                <a:solidFill>
                  <a:schemeClr val="bg1"/>
                </a:solidFill>
              </a:rPr>
              <a:t>*Results are based on immediate lift achieved</a:t>
            </a:r>
          </a:p>
          <a:p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1A95ECE-233D-41B9-A04D-D689FFD2A4EC}"/>
              </a:ext>
            </a:extLst>
          </p:cNvPr>
          <p:cNvSpPr txBox="1"/>
          <p:nvPr/>
        </p:nvSpPr>
        <p:spPr>
          <a:xfrm>
            <a:off x="65005" y="5384030"/>
            <a:ext cx="15916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B050"/>
                </a:solidFill>
              </a:rPr>
              <a:t>VOLUME LIFT at same investment</a:t>
            </a:r>
          </a:p>
        </p:txBody>
      </p:sp>
      <p:pic>
        <p:nvPicPr>
          <p:cNvPr id="35" name="Picture 34" descr="A picture containing drawing&#10;&#10;Description automatically generated">
            <a:extLst>
              <a:ext uri="{FF2B5EF4-FFF2-40B4-BE49-F238E27FC236}">
                <a16:creationId xmlns:a16="http://schemas.microsoft.com/office/drawing/2014/main" id="{29791D0A-17C7-4152-978F-34EFE7EDCF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506" y="997829"/>
            <a:ext cx="777240" cy="777240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04C8ABA-4F78-43F9-B929-265CB8D28901}"/>
              </a:ext>
            </a:extLst>
          </p:cNvPr>
          <p:cNvSpPr txBox="1"/>
          <p:nvPr/>
        </p:nvSpPr>
        <p:spPr>
          <a:xfrm>
            <a:off x="396516" y="1775069"/>
            <a:ext cx="777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Italy</a:t>
            </a:r>
          </a:p>
        </p:txBody>
      </p:sp>
    </p:spTree>
    <p:extLst>
      <p:ext uri="{BB962C8B-B14F-4D97-AF65-F5344CB8AC3E}">
        <p14:creationId xmlns:p14="http://schemas.microsoft.com/office/powerpoint/2010/main" val="1523921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>
            <a:cxnSpLocks/>
          </p:cNvCxnSpPr>
          <p:nvPr/>
        </p:nvCxnSpPr>
        <p:spPr>
          <a:xfrm>
            <a:off x="8352414" y="2273824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Picture 2" descr="Image result for kind logo">
            <a:extLst>
              <a:ext uri="{FF2B5EF4-FFF2-40B4-BE49-F238E27FC236}">
                <a16:creationId xmlns:a16="http://schemas.microsoft.com/office/drawing/2014/main" id="{EE41CAE3-74BF-42F4-8D9E-71EDDAB24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6" y="5863"/>
            <a:ext cx="1108997" cy="744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B25E523-7110-441B-AB0E-B99A4E8EBD66}"/>
              </a:ext>
            </a:extLst>
          </p:cNvPr>
          <p:cNvCxnSpPr>
            <a:cxnSpLocks/>
          </p:cNvCxnSpPr>
          <p:nvPr/>
        </p:nvCxnSpPr>
        <p:spPr>
          <a:xfrm>
            <a:off x="10071747" y="2258478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1">
            <a:extLst>
              <a:ext uri="{FF2B5EF4-FFF2-40B4-BE49-F238E27FC236}">
                <a16:creationId xmlns:a16="http://schemas.microsoft.com/office/drawing/2014/main" id="{36837226-F38B-459B-843B-E8AAC16843C0}"/>
              </a:ext>
            </a:extLst>
          </p:cNvPr>
          <p:cNvSpPr txBox="1">
            <a:spLocks/>
          </p:cNvSpPr>
          <p:nvPr/>
        </p:nvSpPr>
        <p:spPr>
          <a:xfrm>
            <a:off x="774425" y="64791"/>
            <a:ext cx="11617589" cy="1005147"/>
          </a:xfrm>
          <a:prstGeom prst="rect">
            <a:avLst/>
          </a:prstGeom>
        </p:spPr>
        <p:txBody>
          <a:bodyPr anchor="ctr"/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bg1"/>
                </a:solidFill>
                <a:latin typeface="Helvetica Neue LT Pro 75" panose="020B0604020202020204" pitchFamily="34" charset="77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 LT Pro 75" panose="020B0604020202020204" pitchFamily="34" charset="77"/>
              </a:rPr>
              <a:t>X-country – volume </a:t>
            </a:r>
            <a:r>
              <a:rPr lang="en-US" sz="2400" dirty="0">
                <a:solidFill>
                  <a:srgbClr val="FFFFFF"/>
                </a:solidFill>
              </a:rPr>
              <a:t>uplift overview / lever*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LT Pro 75" panose="020B0604020202020204" pitchFamily="34" charset="77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DF9A963-29ED-419B-8B06-784F75706D5C}"/>
              </a:ext>
            </a:extLst>
          </p:cNvPr>
          <p:cNvCxnSpPr>
            <a:cxnSpLocks/>
          </p:cNvCxnSpPr>
          <p:nvPr/>
        </p:nvCxnSpPr>
        <p:spPr>
          <a:xfrm>
            <a:off x="6647014" y="2283349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9333285-F723-4FF4-8E34-8B5C740169D0}"/>
              </a:ext>
            </a:extLst>
          </p:cNvPr>
          <p:cNvCxnSpPr>
            <a:cxnSpLocks/>
          </p:cNvCxnSpPr>
          <p:nvPr/>
        </p:nvCxnSpPr>
        <p:spPr>
          <a:xfrm>
            <a:off x="5099804" y="2264298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A1D1A3A8-242E-46C2-9FFB-8F0C1ED4343B}"/>
              </a:ext>
            </a:extLst>
          </p:cNvPr>
          <p:cNvGrpSpPr/>
          <p:nvPr/>
        </p:nvGrpSpPr>
        <p:grpSpPr>
          <a:xfrm>
            <a:off x="1562097" y="1092257"/>
            <a:ext cx="10263661" cy="1575423"/>
            <a:chOff x="1562097" y="1416107"/>
            <a:chExt cx="10263661" cy="157542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B8E7272-A0CC-4280-AD26-C68E7D2C233D}"/>
                </a:ext>
              </a:extLst>
            </p:cNvPr>
            <p:cNvSpPr txBox="1"/>
            <p:nvPr/>
          </p:nvSpPr>
          <p:spPr>
            <a:xfrm>
              <a:off x="6510449" y="2402858"/>
              <a:ext cx="20610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fluenc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rketing</a:t>
              </a:r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8259AC41-A5BB-401C-A719-B4BC1D9548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38520" y="1416107"/>
              <a:ext cx="1289238" cy="905599"/>
            </a:xfrm>
            <a:prstGeom prst="rect">
              <a:avLst/>
            </a:prstGeom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BC02A69-9A11-4092-B7F4-9602E982CBF6}"/>
                </a:ext>
              </a:extLst>
            </p:cNvPr>
            <p:cNvSpPr txBox="1"/>
            <p:nvPr/>
          </p:nvSpPr>
          <p:spPr>
            <a:xfrm>
              <a:off x="8378712" y="2415296"/>
              <a:ext cx="17753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store Demos</a:t>
              </a:r>
            </a:p>
          </p:txBody>
        </p: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CBF9E346-F26B-4B82-B800-5A1B7B3EC7D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643060" y="1452882"/>
              <a:ext cx="1217537" cy="862792"/>
            </a:xfrm>
            <a:prstGeom prst="rect">
              <a:avLst/>
            </a:prstGeom>
          </p:spPr>
        </p:pic>
        <p:pic>
          <p:nvPicPr>
            <p:cNvPr id="66" name="Picture 65" descr="A picture containing table, indoor, desk, computer&#10;&#10;Description automatically generated">
              <a:extLst>
                <a:ext uri="{FF2B5EF4-FFF2-40B4-BE49-F238E27FC236}">
                  <a16:creationId xmlns:a16="http://schemas.microsoft.com/office/drawing/2014/main" id="{31A2E4B3-7839-4A06-BABA-C2C7000C6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78867" y="1503224"/>
              <a:ext cx="1102060" cy="827444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FE7B5E8C-E894-4638-9AC8-AEE2090EA607}"/>
                </a:ext>
              </a:extLst>
            </p:cNvPr>
            <p:cNvSpPr txBox="1"/>
            <p:nvPr/>
          </p:nvSpPr>
          <p:spPr>
            <a:xfrm>
              <a:off x="3218817" y="2468310"/>
              <a:ext cx="18736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id Media Display/Video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5972A05-0192-4B90-97BD-AF20E8FCB973}"/>
                </a:ext>
              </a:extLst>
            </p:cNvPr>
            <p:cNvSpPr txBox="1"/>
            <p:nvPr/>
          </p:nvSpPr>
          <p:spPr>
            <a:xfrm>
              <a:off x="10050453" y="2381987"/>
              <a:ext cx="17753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vent Sampling</a:t>
              </a:r>
            </a:p>
          </p:txBody>
        </p:sp>
        <p:pic>
          <p:nvPicPr>
            <p:cNvPr id="53" name="Picture 52" descr="A picture containing person, building, man, woman&#10;&#10;Description automatically generated">
              <a:extLst>
                <a:ext uri="{FF2B5EF4-FFF2-40B4-BE49-F238E27FC236}">
                  <a16:creationId xmlns:a16="http://schemas.microsoft.com/office/drawing/2014/main" id="{44C09105-078C-408A-A39B-F6B3F290B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356541" y="1427825"/>
              <a:ext cx="1220107" cy="863672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F7E1EA8-3DEE-4A77-93F9-958DA2F05C08}"/>
                </a:ext>
              </a:extLst>
            </p:cNvPr>
            <p:cNvSpPr txBox="1"/>
            <p:nvPr/>
          </p:nvSpPr>
          <p:spPr>
            <a:xfrm>
              <a:off x="5099804" y="2445966"/>
              <a:ext cx="1332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wned Media - Instagram</a:t>
              </a:r>
            </a:p>
          </p:txBody>
        </p:sp>
        <p:pic>
          <p:nvPicPr>
            <p:cNvPr id="55" name="Picture 54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38BF7A54-3518-4BE5-8A07-B9407A557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90500" y="1489916"/>
              <a:ext cx="844413" cy="844413"/>
            </a:xfrm>
            <a:prstGeom prst="rect">
              <a:avLst/>
            </a:prstGeom>
          </p:spPr>
        </p:pic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E326B99-1CAC-4985-9570-021568F7D87F}"/>
                </a:ext>
              </a:extLst>
            </p:cNvPr>
            <p:cNvSpPr txBox="1"/>
            <p:nvPr/>
          </p:nvSpPr>
          <p:spPr>
            <a:xfrm>
              <a:off x="1562097" y="2456269"/>
              <a:ext cx="20610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id Medi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stagram</a:t>
              </a:r>
            </a:p>
          </p:txBody>
        </p:sp>
        <p:pic>
          <p:nvPicPr>
            <p:cNvPr id="60" name="Picture 59" descr="A close up of a sign&#10;&#10;Description automatically generated">
              <a:extLst>
                <a:ext uri="{FF2B5EF4-FFF2-40B4-BE49-F238E27FC236}">
                  <a16:creationId xmlns:a16="http://schemas.microsoft.com/office/drawing/2014/main" id="{B75C1047-FDDB-4CB9-ADEE-0A6B6ADC55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6506" t="11555" r="13990" b="7686"/>
            <a:stretch/>
          </p:blipFill>
          <p:spPr>
            <a:xfrm>
              <a:off x="1907654" y="1503224"/>
              <a:ext cx="1191575" cy="818482"/>
            </a:xfrm>
            <a:prstGeom prst="rect">
              <a:avLst/>
            </a:prstGeom>
          </p:spPr>
        </p:pic>
      </p:grp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3AD5B9F6-FEED-4A14-9FC1-5B56B5461431}"/>
              </a:ext>
            </a:extLst>
          </p:cNvPr>
          <p:cNvCxnSpPr>
            <a:cxnSpLocks/>
          </p:cNvCxnSpPr>
          <p:nvPr/>
        </p:nvCxnSpPr>
        <p:spPr>
          <a:xfrm>
            <a:off x="3317350" y="2266679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D56D70D-FDD5-4E4C-8946-3369D297EE28}"/>
              </a:ext>
            </a:extLst>
          </p:cNvPr>
          <p:cNvGrpSpPr/>
          <p:nvPr/>
        </p:nvGrpSpPr>
        <p:grpSpPr>
          <a:xfrm>
            <a:off x="62707" y="2934735"/>
            <a:ext cx="11771646" cy="488126"/>
            <a:chOff x="62707" y="2934735"/>
            <a:chExt cx="11771646" cy="488126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EC4F071-6004-4619-AAFA-857D4E391C35}"/>
                </a:ext>
              </a:extLst>
            </p:cNvPr>
            <p:cNvGrpSpPr/>
            <p:nvPr/>
          </p:nvGrpSpPr>
          <p:grpSpPr>
            <a:xfrm>
              <a:off x="62707" y="2971252"/>
              <a:ext cx="1241079" cy="451609"/>
              <a:chOff x="-301131" y="2895052"/>
              <a:chExt cx="1241079" cy="451609"/>
            </a:xfrm>
          </p:grpSpPr>
          <p:pic>
            <p:nvPicPr>
              <p:cNvPr id="69" name="Picture 68" descr="A picture containing drawing&#10;&#10;Description automatically generated">
                <a:extLst>
                  <a:ext uri="{FF2B5EF4-FFF2-40B4-BE49-F238E27FC236}">
                    <a16:creationId xmlns:a16="http://schemas.microsoft.com/office/drawing/2014/main" id="{88C1E054-EF9E-425B-AFB6-DFE31F88A5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88339" y="2895052"/>
                <a:ext cx="451609" cy="451609"/>
              </a:xfrm>
              <a:prstGeom prst="rect">
                <a:avLst/>
              </a:prstGeom>
            </p:spPr>
          </p:pic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AD55C928-206E-46FC-8D18-D8D06D90CB8D}"/>
                  </a:ext>
                </a:extLst>
              </p:cNvPr>
              <p:cNvSpPr txBox="1"/>
              <p:nvPr/>
            </p:nvSpPr>
            <p:spPr>
              <a:xfrm>
                <a:off x="-301131" y="2950124"/>
                <a:ext cx="113451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R</a:t>
                </a:r>
              </a:p>
            </p:txBody>
          </p: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1077AD14-9082-4C72-A201-50322D28C347}"/>
                </a:ext>
              </a:extLst>
            </p:cNvPr>
            <p:cNvGrpSpPr/>
            <p:nvPr/>
          </p:nvGrpSpPr>
          <p:grpSpPr>
            <a:xfrm>
              <a:off x="5396629" y="2971125"/>
              <a:ext cx="1303463" cy="369332"/>
              <a:chOff x="2486515" y="4683597"/>
              <a:chExt cx="1225144" cy="314604"/>
            </a:xfrm>
          </p:grpSpPr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E3422D8E-DFA4-4C4B-86D2-F353C7ABCEA1}"/>
                  </a:ext>
                </a:extLst>
              </p:cNvPr>
              <p:cNvSpPr txBox="1"/>
              <p:nvPr/>
            </p:nvSpPr>
            <p:spPr>
              <a:xfrm>
                <a:off x="2486515" y="4683597"/>
                <a:ext cx="1225144" cy="3146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3.5%</a:t>
                </a:r>
              </a:p>
            </p:txBody>
          </p:sp>
          <p:sp>
            <p:nvSpPr>
              <p:cNvPr id="96" name="Isosceles Triangle 95">
                <a:extLst>
                  <a:ext uri="{FF2B5EF4-FFF2-40B4-BE49-F238E27FC236}">
                    <a16:creationId xmlns:a16="http://schemas.microsoft.com/office/drawing/2014/main" id="{EB1CD6E9-6CF2-42AA-A343-C49850D3E875}"/>
                  </a:ext>
                </a:extLst>
              </p:cNvPr>
              <p:cNvSpPr/>
              <p:nvPr/>
            </p:nvSpPr>
            <p:spPr>
              <a:xfrm>
                <a:off x="2486515" y="4723455"/>
                <a:ext cx="285815" cy="191119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C8C215C5-E3D6-479B-BBF7-5A6D4758FE2C}"/>
                </a:ext>
              </a:extLst>
            </p:cNvPr>
            <p:cNvGrpSpPr/>
            <p:nvPr/>
          </p:nvGrpSpPr>
          <p:grpSpPr>
            <a:xfrm>
              <a:off x="1965146" y="2969755"/>
              <a:ext cx="1360402" cy="429452"/>
              <a:chOff x="2441628" y="4615079"/>
              <a:chExt cx="1278662" cy="369331"/>
            </a:xfrm>
          </p:grpSpPr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6745CC10-4B28-421D-A25A-3D96E1813E69}"/>
                  </a:ext>
                </a:extLst>
              </p:cNvPr>
              <p:cNvSpPr txBox="1"/>
              <p:nvPr/>
            </p:nvSpPr>
            <p:spPr>
              <a:xfrm>
                <a:off x="2495146" y="4615079"/>
                <a:ext cx="1225144" cy="369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8.4 %</a:t>
                </a:r>
              </a:p>
            </p:txBody>
          </p:sp>
          <p:sp>
            <p:nvSpPr>
              <p:cNvPr id="99" name="Isosceles Triangle 98">
                <a:extLst>
                  <a:ext uri="{FF2B5EF4-FFF2-40B4-BE49-F238E27FC236}">
                    <a16:creationId xmlns:a16="http://schemas.microsoft.com/office/drawing/2014/main" id="{9659287B-E731-4B9B-B1C1-ED2BF1A4748E}"/>
                  </a:ext>
                </a:extLst>
              </p:cNvPr>
              <p:cNvSpPr/>
              <p:nvPr/>
            </p:nvSpPr>
            <p:spPr>
              <a:xfrm>
                <a:off x="2441628" y="4659636"/>
                <a:ext cx="285815" cy="191119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BEFDD28E-52B3-4514-BC4A-EB61310B56D1}"/>
                </a:ext>
              </a:extLst>
            </p:cNvPr>
            <p:cNvGrpSpPr/>
            <p:nvPr/>
          </p:nvGrpSpPr>
          <p:grpSpPr>
            <a:xfrm>
              <a:off x="8757637" y="2934735"/>
              <a:ext cx="1303463" cy="369332"/>
              <a:chOff x="2456813" y="4680400"/>
              <a:chExt cx="1225144" cy="317627"/>
            </a:xfrm>
          </p:grpSpPr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D71B29E2-46F1-4F9B-B9B8-C82F5FF81D8A}"/>
                  </a:ext>
                </a:extLst>
              </p:cNvPr>
              <p:cNvSpPr txBox="1"/>
              <p:nvPr/>
            </p:nvSpPr>
            <p:spPr>
              <a:xfrm>
                <a:off x="2456813" y="4680400"/>
                <a:ext cx="1225144" cy="3176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1.9%</a:t>
                </a:r>
              </a:p>
            </p:txBody>
          </p:sp>
          <p:sp>
            <p:nvSpPr>
              <p:cNvPr id="102" name="Isosceles Triangle 101">
                <a:extLst>
                  <a:ext uri="{FF2B5EF4-FFF2-40B4-BE49-F238E27FC236}">
                    <a16:creationId xmlns:a16="http://schemas.microsoft.com/office/drawing/2014/main" id="{D37003DE-3367-4600-9B0C-65A4813E9E78}"/>
                  </a:ext>
                </a:extLst>
              </p:cNvPr>
              <p:cNvSpPr/>
              <p:nvPr/>
            </p:nvSpPr>
            <p:spPr>
              <a:xfrm>
                <a:off x="2486735" y="4735211"/>
                <a:ext cx="285815" cy="191119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FE58A2C0-20EB-4906-A3C8-56D5365041B4}"/>
                </a:ext>
              </a:extLst>
            </p:cNvPr>
            <p:cNvGrpSpPr/>
            <p:nvPr/>
          </p:nvGrpSpPr>
          <p:grpSpPr>
            <a:xfrm>
              <a:off x="10530890" y="2945434"/>
              <a:ext cx="1303463" cy="369331"/>
              <a:chOff x="2469318" y="4671473"/>
              <a:chExt cx="1225144" cy="317627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FACEA80E-2B2C-4539-B658-1D561D3ED74A}"/>
                  </a:ext>
                </a:extLst>
              </p:cNvPr>
              <p:cNvSpPr txBox="1"/>
              <p:nvPr/>
            </p:nvSpPr>
            <p:spPr>
              <a:xfrm>
                <a:off x="2469318" y="4671473"/>
                <a:ext cx="1225144" cy="3176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0.4%</a:t>
                </a:r>
              </a:p>
            </p:txBody>
          </p:sp>
          <p:sp>
            <p:nvSpPr>
              <p:cNvPr id="109" name="Isosceles Triangle 108">
                <a:extLst>
                  <a:ext uri="{FF2B5EF4-FFF2-40B4-BE49-F238E27FC236}">
                    <a16:creationId xmlns:a16="http://schemas.microsoft.com/office/drawing/2014/main" id="{3A5DD889-AD62-4B48-975B-0D02BB1ED6B4}"/>
                  </a:ext>
                </a:extLst>
              </p:cNvPr>
              <p:cNvSpPr/>
              <p:nvPr/>
            </p:nvSpPr>
            <p:spPr>
              <a:xfrm>
                <a:off x="2486735" y="4735211"/>
                <a:ext cx="285815" cy="191119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5AC8E530-E6B7-487A-9E05-A471C92CA2DB}"/>
              </a:ext>
            </a:extLst>
          </p:cNvPr>
          <p:cNvCxnSpPr>
            <a:cxnSpLocks/>
          </p:cNvCxnSpPr>
          <p:nvPr/>
        </p:nvCxnSpPr>
        <p:spPr>
          <a:xfrm>
            <a:off x="1862679" y="2358459"/>
            <a:ext cx="0" cy="3034903"/>
          </a:xfrm>
          <a:prstGeom prst="line">
            <a:avLst/>
          </a:prstGeom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1AD89D2B-C823-41C9-9AA5-43985A1A65CF}"/>
              </a:ext>
            </a:extLst>
          </p:cNvPr>
          <p:cNvSpPr txBox="1"/>
          <p:nvPr/>
        </p:nvSpPr>
        <p:spPr>
          <a:xfrm>
            <a:off x="7291574" y="6485108"/>
            <a:ext cx="46759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chemeClr val="bg1"/>
                </a:solidFill>
              </a:rPr>
              <a:t>n/r = data not robust: too little time / not granular enough data point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3864CD8-13BD-4BA5-89AD-95709903CE29}"/>
              </a:ext>
            </a:extLst>
          </p:cNvPr>
          <p:cNvGrpSpPr/>
          <p:nvPr/>
        </p:nvGrpSpPr>
        <p:grpSpPr>
          <a:xfrm>
            <a:off x="127616" y="3666736"/>
            <a:ext cx="11725891" cy="486494"/>
            <a:chOff x="127616" y="4876411"/>
            <a:chExt cx="11725891" cy="48649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B374C64-5039-4849-A970-BC9953F27D51}"/>
                </a:ext>
              </a:extLst>
            </p:cNvPr>
            <p:cNvGrpSpPr/>
            <p:nvPr/>
          </p:nvGrpSpPr>
          <p:grpSpPr>
            <a:xfrm>
              <a:off x="127616" y="4896737"/>
              <a:ext cx="1226941" cy="466168"/>
              <a:chOff x="-272434" y="4744337"/>
              <a:chExt cx="1226941" cy="466168"/>
            </a:xfrm>
          </p:grpSpPr>
          <p:pic>
            <p:nvPicPr>
              <p:cNvPr id="72" name="Picture 71" descr="A picture containing drawing&#10;&#10;Description automatically generated">
                <a:extLst>
                  <a:ext uri="{FF2B5EF4-FFF2-40B4-BE49-F238E27FC236}">
                    <a16:creationId xmlns:a16="http://schemas.microsoft.com/office/drawing/2014/main" id="{50B51BB4-C6ED-46BD-9D43-ACAF656784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88339" y="4744337"/>
                <a:ext cx="466168" cy="466168"/>
              </a:xfrm>
              <a:prstGeom prst="rect">
                <a:avLst/>
              </a:prstGeom>
            </p:spPr>
          </p:pic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20CA61EC-36BC-4527-88F4-58EF1EE3FF1A}"/>
                  </a:ext>
                </a:extLst>
              </p:cNvPr>
              <p:cNvSpPr txBox="1"/>
              <p:nvPr/>
            </p:nvSpPr>
            <p:spPr>
              <a:xfrm>
                <a:off x="-272434" y="4829207"/>
                <a:ext cx="113451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U</a:t>
                </a:r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BB9C795B-FD73-4325-866C-2EE11811DA60}"/>
                </a:ext>
              </a:extLst>
            </p:cNvPr>
            <p:cNvGrpSpPr/>
            <p:nvPr/>
          </p:nvGrpSpPr>
          <p:grpSpPr>
            <a:xfrm>
              <a:off x="5302029" y="4902405"/>
              <a:ext cx="1360402" cy="369331"/>
              <a:chOff x="2441628" y="4615079"/>
              <a:chExt cx="1278662" cy="317627"/>
            </a:xfrm>
          </p:grpSpPr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C2547A1E-9CC8-49A4-803F-DC24554BED44}"/>
                  </a:ext>
                </a:extLst>
              </p:cNvPr>
              <p:cNvSpPr txBox="1"/>
              <p:nvPr/>
            </p:nvSpPr>
            <p:spPr>
              <a:xfrm>
                <a:off x="2495146" y="4615079"/>
                <a:ext cx="1225144" cy="3176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6 %</a:t>
                </a:r>
              </a:p>
            </p:txBody>
          </p:sp>
          <p:sp>
            <p:nvSpPr>
              <p:cNvPr id="84" name="Isosceles Triangle 83">
                <a:extLst>
                  <a:ext uri="{FF2B5EF4-FFF2-40B4-BE49-F238E27FC236}">
                    <a16:creationId xmlns:a16="http://schemas.microsoft.com/office/drawing/2014/main" id="{5D82D786-986B-46C2-9C9A-B2E3DF9A834A}"/>
                  </a:ext>
                </a:extLst>
              </p:cNvPr>
              <p:cNvSpPr/>
              <p:nvPr/>
            </p:nvSpPr>
            <p:spPr>
              <a:xfrm>
                <a:off x="2441628" y="4659636"/>
                <a:ext cx="285815" cy="191119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2E4F7BCA-F856-43F6-8197-7DFA7F233650}"/>
                </a:ext>
              </a:extLst>
            </p:cNvPr>
            <p:cNvGrpSpPr/>
            <p:nvPr/>
          </p:nvGrpSpPr>
          <p:grpSpPr>
            <a:xfrm>
              <a:off x="8752196" y="4885756"/>
              <a:ext cx="1381979" cy="369332"/>
              <a:chOff x="2482549" y="4678929"/>
              <a:chExt cx="1298942" cy="314604"/>
            </a:xfrm>
          </p:grpSpPr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32BE5B82-C410-45BA-B64D-24AA0E53CE7C}"/>
                  </a:ext>
                </a:extLst>
              </p:cNvPr>
              <p:cNvSpPr txBox="1"/>
              <p:nvPr/>
            </p:nvSpPr>
            <p:spPr>
              <a:xfrm>
                <a:off x="2556347" y="4678929"/>
                <a:ext cx="1225144" cy="3146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.4 %</a:t>
                </a:r>
              </a:p>
            </p:txBody>
          </p:sp>
          <p:sp>
            <p:nvSpPr>
              <p:cNvPr id="87" name="Isosceles Triangle 86">
                <a:extLst>
                  <a:ext uri="{FF2B5EF4-FFF2-40B4-BE49-F238E27FC236}">
                    <a16:creationId xmlns:a16="http://schemas.microsoft.com/office/drawing/2014/main" id="{D3E62038-7E58-41B4-9AFD-48038CFE44A0}"/>
                  </a:ext>
                </a:extLst>
              </p:cNvPr>
              <p:cNvSpPr/>
              <p:nvPr/>
            </p:nvSpPr>
            <p:spPr>
              <a:xfrm>
                <a:off x="2482549" y="4743024"/>
                <a:ext cx="285815" cy="191119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BB960C54-71FC-4779-9995-C112BBFB1FFA}"/>
                </a:ext>
              </a:extLst>
            </p:cNvPr>
            <p:cNvGrpSpPr/>
            <p:nvPr/>
          </p:nvGrpSpPr>
          <p:grpSpPr>
            <a:xfrm>
              <a:off x="10530890" y="4876411"/>
              <a:ext cx="1322617" cy="369332"/>
              <a:chOff x="2486515" y="4664306"/>
              <a:chExt cx="1243147" cy="317627"/>
            </a:xfrm>
          </p:grpSpPr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6E273E75-0422-497A-B736-BDA142E9159E}"/>
                  </a:ext>
                </a:extLst>
              </p:cNvPr>
              <p:cNvSpPr txBox="1"/>
              <p:nvPr/>
            </p:nvSpPr>
            <p:spPr>
              <a:xfrm>
                <a:off x="2504518" y="4664306"/>
                <a:ext cx="1225144" cy="3176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1.7 %</a:t>
                </a:r>
              </a:p>
            </p:txBody>
          </p:sp>
          <p:sp>
            <p:nvSpPr>
              <p:cNvPr id="90" name="Isosceles Triangle 89">
                <a:extLst>
                  <a:ext uri="{FF2B5EF4-FFF2-40B4-BE49-F238E27FC236}">
                    <a16:creationId xmlns:a16="http://schemas.microsoft.com/office/drawing/2014/main" id="{D892A9B6-44F2-4BF8-BA1C-8D7FBCDAD58E}"/>
                  </a:ext>
                </a:extLst>
              </p:cNvPr>
              <p:cNvSpPr/>
              <p:nvPr/>
            </p:nvSpPr>
            <p:spPr>
              <a:xfrm>
                <a:off x="2486515" y="4736040"/>
                <a:ext cx="285815" cy="191119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EED5B67F-ECCD-4857-8BC3-D9F8B22DB7DF}"/>
                </a:ext>
              </a:extLst>
            </p:cNvPr>
            <p:cNvSpPr txBox="1"/>
            <p:nvPr/>
          </p:nvSpPr>
          <p:spPr>
            <a:xfrm>
              <a:off x="2273038" y="4968996"/>
              <a:ext cx="822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dirty="0">
                  <a:solidFill>
                    <a:schemeClr val="bg1"/>
                  </a:solidFill>
                </a:rPr>
                <a:t>n/r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491F6163-F219-4738-9D75-18764794EAD8}"/>
                </a:ext>
              </a:extLst>
            </p:cNvPr>
            <p:cNvSpPr txBox="1"/>
            <p:nvPr/>
          </p:nvSpPr>
          <p:spPr>
            <a:xfrm>
              <a:off x="7214891" y="4960403"/>
              <a:ext cx="822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dirty="0">
                  <a:solidFill>
                    <a:schemeClr val="bg1"/>
                  </a:solidFill>
                </a:rPr>
                <a:t>n/r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F36FCAF-DDC1-4ACA-8D67-4ED395E37665}"/>
              </a:ext>
            </a:extLst>
          </p:cNvPr>
          <p:cNvGrpSpPr/>
          <p:nvPr/>
        </p:nvGrpSpPr>
        <p:grpSpPr>
          <a:xfrm>
            <a:off x="24307" y="4449725"/>
            <a:ext cx="11588543" cy="515248"/>
            <a:chOff x="24307" y="3792500"/>
            <a:chExt cx="11588543" cy="515248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633DC0BC-47F3-42B6-97C6-FE628D4AED14}"/>
                </a:ext>
              </a:extLst>
            </p:cNvPr>
            <p:cNvGrpSpPr/>
            <p:nvPr/>
          </p:nvGrpSpPr>
          <p:grpSpPr>
            <a:xfrm>
              <a:off x="6987488" y="3793955"/>
              <a:ext cx="1360402" cy="369331"/>
              <a:chOff x="2441628" y="4615079"/>
              <a:chExt cx="1278662" cy="317627"/>
            </a:xfrm>
          </p:grpSpPr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4EF2DD22-02BF-4816-AD1D-90553A3B29D4}"/>
                  </a:ext>
                </a:extLst>
              </p:cNvPr>
              <p:cNvSpPr txBox="1"/>
              <p:nvPr/>
            </p:nvSpPr>
            <p:spPr>
              <a:xfrm>
                <a:off x="2495146" y="4615079"/>
                <a:ext cx="1225144" cy="3176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0.71 %</a:t>
                </a:r>
              </a:p>
            </p:txBody>
          </p:sp>
          <p:sp>
            <p:nvSpPr>
              <p:cNvPr id="49" name="Isosceles Triangle 48">
                <a:extLst>
                  <a:ext uri="{FF2B5EF4-FFF2-40B4-BE49-F238E27FC236}">
                    <a16:creationId xmlns:a16="http://schemas.microsoft.com/office/drawing/2014/main" id="{897AD5DD-ADE9-48E3-9B42-01DBA92D9FBC}"/>
                  </a:ext>
                </a:extLst>
              </p:cNvPr>
              <p:cNvSpPr/>
              <p:nvPr/>
            </p:nvSpPr>
            <p:spPr>
              <a:xfrm>
                <a:off x="2441628" y="4659636"/>
                <a:ext cx="285815" cy="191119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E644ECD-8201-420C-9692-B7E0DAE17793}"/>
                </a:ext>
              </a:extLst>
            </p:cNvPr>
            <p:cNvGrpSpPr/>
            <p:nvPr/>
          </p:nvGrpSpPr>
          <p:grpSpPr>
            <a:xfrm>
              <a:off x="24307" y="3841580"/>
              <a:ext cx="1330250" cy="466168"/>
              <a:chOff x="-375743" y="3793955"/>
              <a:chExt cx="1330250" cy="466168"/>
            </a:xfrm>
          </p:grpSpPr>
          <p:pic>
            <p:nvPicPr>
              <p:cNvPr id="35" name="Picture 34" descr="A picture containing drawing&#10;&#10;Description automatically generated">
                <a:extLst>
                  <a:ext uri="{FF2B5EF4-FFF2-40B4-BE49-F238E27FC236}">
                    <a16:creationId xmlns:a16="http://schemas.microsoft.com/office/drawing/2014/main" id="{29791D0A-17C7-4152-978F-34EFE7EDCF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88339" y="3793955"/>
                <a:ext cx="466168" cy="466168"/>
              </a:xfrm>
              <a:prstGeom prst="rect">
                <a:avLst/>
              </a:prstGeom>
            </p:spPr>
          </p:pic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ABF1A12A-7CC9-4374-9011-267B7D5D3031}"/>
                  </a:ext>
                </a:extLst>
              </p:cNvPr>
              <p:cNvSpPr txBox="1"/>
              <p:nvPr/>
            </p:nvSpPr>
            <p:spPr>
              <a:xfrm>
                <a:off x="-375743" y="3857762"/>
                <a:ext cx="113451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T</a:t>
                </a: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7B1CE12C-7770-41B3-9187-66725D576036}"/>
                </a:ext>
              </a:extLst>
            </p:cNvPr>
            <p:cNvGrpSpPr/>
            <p:nvPr/>
          </p:nvGrpSpPr>
          <p:grpSpPr>
            <a:xfrm>
              <a:off x="8745302" y="3805071"/>
              <a:ext cx="1381979" cy="369332"/>
              <a:chOff x="2482549" y="4678929"/>
              <a:chExt cx="1298942" cy="314604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37C53E62-EC47-42AC-B61D-C20980B6560E}"/>
                  </a:ext>
                </a:extLst>
              </p:cNvPr>
              <p:cNvSpPr txBox="1"/>
              <p:nvPr/>
            </p:nvSpPr>
            <p:spPr>
              <a:xfrm>
                <a:off x="2556347" y="4678929"/>
                <a:ext cx="1225144" cy="3146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0.64 %</a:t>
                </a:r>
              </a:p>
            </p:txBody>
          </p:sp>
          <p:sp>
            <p:nvSpPr>
              <p:cNvPr id="75" name="Isosceles Triangle 74">
                <a:extLst>
                  <a:ext uri="{FF2B5EF4-FFF2-40B4-BE49-F238E27FC236}">
                    <a16:creationId xmlns:a16="http://schemas.microsoft.com/office/drawing/2014/main" id="{FCFF9F89-4B72-4A92-A519-9BE6D951DDA1}"/>
                  </a:ext>
                </a:extLst>
              </p:cNvPr>
              <p:cNvSpPr/>
              <p:nvPr/>
            </p:nvSpPr>
            <p:spPr>
              <a:xfrm>
                <a:off x="2482549" y="4743024"/>
                <a:ext cx="285815" cy="191119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74365551-84A5-49EB-A484-1F8E03A6B648}"/>
                </a:ext>
              </a:extLst>
            </p:cNvPr>
            <p:cNvGrpSpPr/>
            <p:nvPr/>
          </p:nvGrpSpPr>
          <p:grpSpPr>
            <a:xfrm>
              <a:off x="3681530" y="3792500"/>
              <a:ext cx="1322617" cy="369332"/>
              <a:chOff x="2486515" y="4664306"/>
              <a:chExt cx="1243147" cy="317627"/>
            </a:xfrm>
          </p:grpSpPr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84336800-2193-4DB7-B3E3-844AB9055998}"/>
                  </a:ext>
                </a:extLst>
              </p:cNvPr>
              <p:cNvSpPr txBox="1"/>
              <p:nvPr/>
            </p:nvSpPr>
            <p:spPr>
              <a:xfrm>
                <a:off x="2504518" y="4664306"/>
                <a:ext cx="1225144" cy="3176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0.40 %</a:t>
                </a:r>
              </a:p>
            </p:txBody>
          </p:sp>
          <p:sp>
            <p:nvSpPr>
              <p:cNvPr id="78" name="Isosceles Triangle 77">
                <a:extLst>
                  <a:ext uri="{FF2B5EF4-FFF2-40B4-BE49-F238E27FC236}">
                    <a16:creationId xmlns:a16="http://schemas.microsoft.com/office/drawing/2014/main" id="{C469B3FE-70BC-40C5-8CF6-39E9EBB389EE}"/>
                  </a:ext>
                </a:extLst>
              </p:cNvPr>
              <p:cNvSpPr/>
              <p:nvPr/>
            </p:nvSpPr>
            <p:spPr>
              <a:xfrm>
                <a:off x="2486515" y="4736040"/>
                <a:ext cx="285815" cy="191119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3B8297A9-CA64-49C9-9CCE-BAF988B09A2E}"/>
                </a:ext>
              </a:extLst>
            </p:cNvPr>
            <p:cNvSpPr txBox="1"/>
            <p:nvPr/>
          </p:nvSpPr>
          <p:spPr>
            <a:xfrm>
              <a:off x="2262252" y="3816236"/>
              <a:ext cx="822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dirty="0">
                  <a:solidFill>
                    <a:schemeClr val="bg1"/>
                  </a:solidFill>
                </a:rPr>
                <a:t>n/r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5BFF0AB6-FF3E-4A4A-8F2F-39605E932E36}"/>
                </a:ext>
              </a:extLst>
            </p:cNvPr>
            <p:cNvSpPr txBox="1"/>
            <p:nvPr/>
          </p:nvSpPr>
          <p:spPr>
            <a:xfrm>
              <a:off x="5584025" y="3816236"/>
              <a:ext cx="822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dirty="0">
                  <a:solidFill>
                    <a:schemeClr val="bg1"/>
                  </a:solidFill>
                </a:rPr>
                <a:t>n/r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AC56A04-E339-4255-984F-FF97CAC5ADF7}"/>
                </a:ext>
              </a:extLst>
            </p:cNvPr>
            <p:cNvSpPr txBox="1"/>
            <p:nvPr/>
          </p:nvSpPr>
          <p:spPr>
            <a:xfrm>
              <a:off x="10790699" y="3857341"/>
              <a:ext cx="8221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dirty="0">
                  <a:solidFill>
                    <a:schemeClr val="bg1"/>
                  </a:solidFill>
                </a:rPr>
                <a:t>n/r</a:t>
              </a:r>
            </a:p>
          </p:txBody>
        </p:sp>
      </p:grpSp>
      <p:sp>
        <p:nvSpPr>
          <p:cNvPr id="93" name="TextBox 92">
            <a:extLst>
              <a:ext uri="{FF2B5EF4-FFF2-40B4-BE49-F238E27FC236}">
                <a16:creationId xmlns:a16="http://schemas.microsoft.com/office/drawing/2014/main" id="{7C81F147-B6DC-4EF3-8CEE-CAE64235E4B4}"/>
              </a:ext>
            </a:extLst>
          </p:cNvPr>
          <p:cNvSpPr txBox="1"/>
          <p:nvPr/>
        </p:nvSpPr>
        <p:spPr>
          <a:xfrm>
            <a:off x="733265" y="6377428"/>
            <a:ext cx="62006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schemeClr val="bg1"/>
                </a:solidFill>
              </a:rPr>
              <a:t>*Uplift needs to be considered on country level, as baseline volume = different / country</a:t>
            </a:r>
          </a:p>
          <a:p>
            <a:r>
              <a:rPr lang="de-CH" sz="1200" dirty="0">
                <a:solidFill>
                  <a:schemeClr val="bg1"/>
                </a:solidFill>
              </a:rPr>
              <a:t>   Italy covers only 50% of the market in Nielse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CF5C6EF-97EF-42A9-BCCD-6C4546E928C3}"/>
              </a:ext>
            </a:extLst>
          </p:cNvPr>
          <p:cNvSpPr/>
          <p:nvPr/>
        </p:nvSpPr>
        <p:spPr>
          <a:xfrm>
            <a:off x="1862679" y="2794974"/>
            <a:ext cx="4809437" cy="1460800"/>
          </a:xfrm>
          <a:prstGeom prst="roundRect">
            <a:avLst/>
          </a:prstGeom>
          <a:noFill/>
          <a:ln w="28575">
            <a:solidFill>
              <a:schemeClr val="accent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79071D-F2DF-49FD-B4B9-BF9D56CF21A8}"/>
              </a:ext>
            </a:extLst>
          </p:cNvPr>
          <p:cNvSpPr txBox="1"/>
          <p:nvPr/>
        </p:nvSpPr>
        <p:spPr>
          <a:xfrm>
            <a:off x="1862679" y="5457825"/>
            <a:ext cx="9529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2000" b="1" dirty="0">
                <a:solidFill>
                  <a:srgbClr val="F1B700"/>
                </a:solidFill>
              </a:rPr>
              <a:t>First indication that paid &amp; owned media leads to higher uplift vs Field Marketing</a:t>
            </a:r>
          </a:p>
          <a:p>
            <a:pPr algn="ctr"/>
            <a:r>
              <a:rPr lang="de-CH" sz="2000" b="1" dirty="0">
                <a:solidFill>
                  <a:srgbClr val="F1B700"/>
                </a:solidFill>
              </a:rPr>
              <a:t>to be further validated in other 3 test markets 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21FF48D-98F1-4F9B-B454-192A91656BB0}"/>
              </a:ext>
            </a:extLst>
          </p:cNvPr>
          <p:cNvSpPr txBox="1"/>
          <p:nvPr/>
        </p:nvSpPr>
        <p:spPr>
          <a:xfrm>
            <a:off x="7222325" y="2958986"/>
            <a:ext cx="822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bg1"/>
                </a:solidFill>
              </a:rPr>
              <a:t>n/r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D7011487-678B-49FF-8180-789897DC6F35}"/>
              </a:ext>
            </a:extLst>
          </p:cNvPr>
          <p:cNvSpPr txBox="1"/>
          <p:nvPr/>
        </p:nvSpPr>
        <p:spPr>
          <a:xfrm>
            <a:off x="3957631" y="2998468"/>
            <a:ext cx="822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82E2045C-2EC6-44BA-A1CB-29A62B38E0BA}"/>
              </a:ext>
            </a:extLst>
          </p:cNvPr>
          <p:cNvSpPr txBox="1"/>
          <p:nvPr/>
        </p:nvSpPr>
        <p:spPr>
          <a:xfrm>
            <a:off x="3938583" y="3722894"/>
            <a:ext cx="822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bg1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0971939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.0 - Title Slides">
  <a:themeElements>
    <a:clrScheme name="KIND Colours">
      <a:dk1>
        <a:srgbClr val="000000"/>
      </a:dk1>
      <a:lt1>
        <a:srgbClr val="FFFFFF"/>
      </a:lt1>
      <a:dk2>
        <a:srgbClr val="3D3B3B"/>
      </a:dk2>
      <a:lt2>
        <a:srgbClr val="E7E6E6"/>
      </a:lt2>
      <a:accent1>
        <a:srgbClr val="FEA900"/>
      </a:accent1>
      <a:accent2>
        <a:srgbClr val="D8262E"/>
      </a:accent2>
      <a:accent3>
        <a:srgbClr val="B9BE10"/>
      </a:accent3>
      <a:accent4>
        <a:srgbClr val="61B3E3"/>
      </a:accent4>
      <a:accent5>
        <a:srgbClr val="000000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34F7EC50-1060-C540-A250-C7F7C9C1FCD2}"/>
    </a:ext>
  </a:extLst>
</a:theme>
</file>

<file path=ppt/theme/theme10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8B4B3A8E-2F45-5949-9554-8A4D816A4828}"/>
    </a:ext>
  </a:extLst>
</a:theme>
</file>

<file path=ppt/theme/theme11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2D5B34CA-5011-B24C-B1EE-E9868A828187}"/>
    </a:ext>
  </a:extLst>
</a:theme>
</file>

<file path=ppt/theme/theme1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D78C21D0-8476-764C-B3F0-839EFEDC5873}"/>
    </a:ext>
  </a:extLst>
</a:theme>
</file>

<file path=ppt/theme/theme13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EFED5CB5-667A-6E4C-A8C5-6D29194FD2B9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.0 - Colour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165915F9-020B-184E-A162-AD2752AC05D1}"/>
    </a:ext>
  </a:extLst>
</a:theme>
</file>

<file path=ppt/theme/theme3.xml><?xml version="1.0" encoding="utf-8"?>
<a:theme xmlns:a="http://schemas.openxmlformats.org/drawingml/2006/main" name="4.0 - Colour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2715ACF3-69F3-3B42-A1C9-F213C8B7F92E}"/>
    </a:ext>
  </a:extLst>
</a:theme>
</file>

<file path=ppt/theme/theme4.xml><?xml version="1.0" encoding="utf-8"?>
<a:theme xmlns:a="http://schemas.openxmlformats.org/drawingml/2006/main" name="5.0 - Colour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027CFB0F-FE04-384B-A0A6-6BA74679BAE7}"/>
    </a:ext>
  </a:extLst>
</a:theme>
</file>

<file path=ppt/theme/theme5.xml><?xml version="1.0" encoding="utf-8"?>
<a:theme xmlns:a="http://schemas.openxmlformats.org/drawingml/2006/main" name="6.0 - Colour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862A9CED-BDA8-A042-9086-344380AE384A}"/>
    </a:ext>
  </a:extLst>
</a:theme>
</file>

<file path=ppt/theme/theme6.xml><?xml version="1.0" encoding="utf-8"?>
<a:theme xmlns:a="http://schemas.openxmlformats.org/drawingml/2006/main" name="7.0 - 2 Colour Block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88E17E9D-A040-8248-8913-9EED681EBE0B}"/>
    </a:ext>
  </a:extLst>
</a:theme>
</file>

<file path=ppt/theme/theme7.xml><?xml version="1.0" encoding="utf-8"?>
<a:theme xmlns:a="http://schemas.openxmlformats.org/drawingml/2006/main" name="8.0 - 3 Colour Block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29D2193F-D590-BD4A-AB6E-5A63D099BC5A}"/>
    </a:ext>
  </a:extLst>
</a:theme>
</file>

<file path=ppt/theme/theme8.xml><?xml version="1.0" encoding="utf-8"?>
<a:theme xmlns:a="http://schemas.openxmlformats.org/drawingml/2006/main" name="9.0 - Black Background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6833231E-3B9E-B347-8881-8DB7E8167E32}"/>
    </a:ext>
  </a:extLst>
</a:theme>
</file>

<file path=ppt/theme/theme9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ND-166-Core-Presentation" id="{F137808C-817B-4346-9BC8-5929A557989E}" vid="{EEE13C1A-A3CC-A041-885A-A4A681D1B86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238261E73C88439BB98AF91E7C8BB9" ma:contentTypeVersion="12" ma:contentTypeDescription="Create a new document." ma:contentTypeScope="" ma:versionID="ce24275585ad6faa1994631f599f0ad0">
  <xsd:schema xmlns:xsd="http://www.w3.org/2001/XMLSchema" xmlns:xs="http://www.w3.org/2001/XMLSchema" xmlns:p="http://schemas.microsoft.com/office/2006/metadata/properties" xmlns:ns2="df96cac6-5edc-4d96-a14f-21dec8cebb64" xmlns:ns3="e6f9aa0a-a4db-4c69-b1fa-f7c559ce6762" targetNamespace="http://schemas.microsoft.com/office/2006/metadata/properties" ma:root="true" ma:fieldsID="e48c4e51891a7ad7a9848e84a11e2199" ns2:_="" ns3:_="">
    <xsd:import namespace="df96cac6-5edc-4d96-a14f-21dec8cebb64"/>
    <xsd:import namespace="e6f9aa0a-a4db-4c69-b1fa-f7c559ce67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96cac6-5edc-4d96-a14f-21dec8cebb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f9aa0a-a4db-4c69-b1fa-f7c559ce676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9D8637B-1372-4348-8B77-1B4FE3B31A4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C57CC01-4209-437C-9717-430C38BBBBAC}"/>
</file>

<file path=customXml/itemProps3.xml><?xml version="1.0" encoding="utf-8"?>
<ds:datastoreItem xmlns:ds="http://schemas.openxmlformats.org/officeDocument/2006/customXml" ds:itemID="{CBFD3E63-E742-4743-B17F-C951610A8406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terms/"/>
    <ds:schemaRef ds:uri="8354d089-f291-443c-9ff9-ec510232d55f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a2aa6946-db60-47af-8222-0ce8b35ff0a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19</Words>
  <Application>Microsoft Office PowerPoint</Application>
  <PresentationFormat>Widescreen</PresentationFormat>
  <Paragraphs>176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2" baseType="lpstr">
      <vt:lpstr>Arial</vt:lpstr>
      <vt:lpstr>Calibri</vt:lpstr>
      <vt:lpstr>Calibri Light</vt:lpstr>
      <vt:lpstr>Helvetica Neue</vt:lpstr>
      <vt:lpstr>Helvetica Neue LT Pro 55 Roman</vt:lpstr>
      <vt:lpstr>Helvetica Neue LT Pro 75</vt:lpstr>
      <vt:lpstr>Sentinel Light</vt:lpstr>
      <vt:lpstr>Wingdings</vt:lpstr>
      <vt:lpstr>2.0 - Title Slides</vt:lpstr>
      <vt:lpstr>3.0 - Colour Slides</vt:lpstr>
      <vt:lpstr>4.0 - Colour Slides</vt:lpstr>
      <vt:lpstr>5.0 - Colour Slides</vt:lpstr>
      <vt:lpstr>6.0 - Colour Slides</vt:lpstr>
      <vt:lpstr>7.0 - 2 Colour Blocks</vt:lpstr>
      <vt:lpstr>8.0 - 3 Colour Blocks</vt:lpstr>
      <vt:lpstr>9.0 - Black Background</vt:lpstr>
      <vt:lpstr>Custom Design</vt:lpstr>
      <vt:lpstr>5_Custom Design</vt:lpstr>
      <vt:lpstr>7_Custom Design</vt:lpstr>
      <vt:lpstr>8_Custom Design</vt:lpstr>
      <vt:lpstr>3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ter@wearegoodtimes.co.uk</dc:creator>
  <cp:lastModifiedBy>Daros, Beatrix</cp:lastModifiedBy>
  <cp:revision>19</cp:revision>
  <dcterms:created xsi:type="dcterms:W3CDTF">2019-07-16T10:11:13Z</dcterms:created>
  <dcterms:modified xsi:type="dcterms:W3CDTF">2020-04-02T13:3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238261E73C88439BB98AF91E7C8BB9</vt:lpwstr>
  </property>
</Properties>
</file>